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tif" ContentType="image/tif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0.xml" ContentType="application/vnd.openxmlformats-officedocument.themeOverride+xml"/>
  <Override PartName="/ppt/tags/tag26.xml" ContentType="application/vnd.openxmlformats-officedocument.presentationml.tags+xml"/>
  <Override PartName="/ppt/theme/themeOverride11.xml" ContentType="application/vnd.openxmlformats-officedocument.themeOverride+xml"/>
  <Override PartName="/ppt/tags/tag27.xml" ContentType="application/vnd.openxmlformats-officedocument.presentationml.tags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heme/themeOverride14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5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6.xml" ContentType="application/vnd.openxmlformats-officedocument.themeOverride+xml"/>
  <Override PartName="/ppt/tags/tag36.xml" ContentType="application/vnd.openxmlformats-officedocument.presentationml.tags+xml"/>
  <Override PartName="/ppt/theme/themeOverride17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18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7" r:id="rId2"/>
    <p:sldId id="270" r:id="rId3"/>
    <p:sldId id="264" r:id="rId4"/>
    <p:sldId id="265" r:id="rId5"/>
    <p:sldId id="266" r:id="rId6"/>
    <p:sldId id="268" r:id="rId7"/>
    <p:sldId id="261" r:id="rId8"/>
    <p:sldId id="262" r:id="rId9"/>
  </p:sldIdLst>
  <p:sldSz cx="12192000" cy="6858000"/>
  <p:notesSz cx="6858000" cy="9144000"/>
  <p:embeddedFontLst>
    <p:embeddedFont>
      <p:font typeface="SwissReSans" panose="020B0604020202020204" pitchFamily="34" charset="0"/>
      <p:regular r:id="rId12"/>
      <p:bold r:id="rId13"/>
      <p:italic r:id="rId14"/>
      <p:boldItalic r:id="rId15"/>
    </p:embeddedFont>
    <p:embeddedFont>
      <p:font typeface="SwissReSans Light" panose="020B0504020202020204" pitchFamily="34" charset="0"/>
      <p:regular r:id="rId16"/>
      <p:bold r:id="rId17"/>
      <p:italic r:id="rId18"/>
      <p:boldItalic r:id="rId19"/>
    </p:embeddedFont>
    <p:embeddedFont>
      <p:font typeface="ＭＳ Ｐゴシック" panose="020B0600070205080204" pitchFamily="34" charset="-128"/>
      <p:regular r:id="rId20"/>
    </p:embeddedFont>
  </p:embeddedFontLst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howGuides="1">
      <p:cViewPr varScale="1">
        <p:scale>
          <a:sx n="91" d="100"/>
          <a:sy n="91" d="100"/>
        </p:scale>
        <p:origin x="72" y="18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12/05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12.05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ft: key goal and why</a:t>
            </a:r>
            <a:r>
              <a:rPr lang="en-US" baseline="0" dirty="0" smtClean="0"/>
              <a:t> and playing grounds</a:t>
            </a:r>
          </a:p>
          <a:p>
            <a:endParaRPr lang="en-US" baseline="0" dirty="0" smtClean="0"/>
          </a:p>
          <a:p>
            <a:r>
              <a:rPr lang="en-US" baseline="0" dirty="0" smtClean="0"/>
              <a:t>Right: What we do (build new business) and why (to increase the market)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A715CC-6E20-4F31-BBB4-78E682CB17A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5909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7283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A715CC-6E20-4F31-BBB4-78E682CB17A3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6945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A715CC-6E20-4F31-BBB4-78E682CB17A3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5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458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17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DA259EA2-E3AE-4A70-B870-03DC5B3FF635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</a:t>
            </a:r>
            <a:br>
              <a:rPr lang="en-GB" noProof="1"/>
            </a:br>
            <a:r>
              <a:rPr lang="en-GB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=""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=""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9" name="Text Placeholder 6">
            <a:extLst>
              <a:ext uri="{FF2B5EF4-FFF2-40B4-BE49-F238E27FC236}">
                <a16:creationId xmlns=""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0" name="Text Placeholder 6">
            <a:extLst>
              <a:ext uri="{FF2B5EF4-FFF2-40B4-BE49-F238E27FC236}">
                <a16:creationId xmlns=""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1" name="Text Placeholder 6">
            <a:extLst>
              <a:ext uri="{FF2B5EF4-FFF2-40B4-BE49-F238E27FC236}">
                <a16:creationId xmlns=""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2" name="Text Placeholder 6">
            <a:extLst>
              <a:ext uri="{FF2B5EF4-FFF2-40B4-BE49-F238E27FC236}">
                <a16:creationId xmlns=""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=""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=""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5" name="Text Placeholder 6">
            <a:extLst>
              <a:ext uri="{FF2B5EF4-FFF2-40B4-BE49-F238E27FC236}">
                <a16:creationId xmlns=""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6" name="Text Placeholder 6">
            <a:extLst>
              <a:ext uri="{FF2B5EF4-FFF2-40B4-BE49-F238E27FC236}">
                <a16:creationId xmlns=""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7" name="Text Placeholder 6">
            <a:extLst>
              <a:ext uri="{FF2B5EF4-FFF2-40B4-BE49-F238E27FC236}">
                <a16:creationId xmlns=""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8" name="Text Placeholder 6">
            <a:extLst>
              <a:ext uri="{FF2B5EF4-FFF2-40B4-BE49-F238E27FC236}">
                <a16:creationId xmlns=""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9" name="Footer">
            <a:extLst>
              <a:ext uri="{FF2B5EF4-FFF2-40B4-BE49-F238E27FC236}">
                <a16:creationId xmlns=""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5E7FD808-2D35-4CF3-8910-C37D2146FA7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21233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=""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0" name="Text Placeholder 6">
            <a:extLst>
              <a:ext uri="{FF2B5EF4-FFF2-40B4-BE49-F238E27FC236}">
                <a16:creationId xmlns=""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1" name="Text Placeholder 6">
            <a:extLst>
              <a:ext uri="{FF2B5EF4-FFF2-40B4-BE49-F238E27FC236}">
                <a16:creationId xmlns=""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=""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3" name="Text Placeholder 6">
            <a:extLst>
              <a:ext uri="{FF2B5EF4-FFF2-40B4-BE49-F238E27FC236}">
                <a16:creationId xmlns=""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4" name="Text Placeholder 6">
            <a:extLst>
              <a:ext uri="{FF2B5EF4-FFF2-40B4-BE49-F238E27FC236}">
                <a16:creationId xmlns=""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=""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6" name="Text Placeholder 6">
            <a:extLst>
              <a:ext uri="{FF2B5EF4-FFF2-40B4-BE49-F238E27FC236}">
                <a16:creationId xmlns=""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7" name="Text Placeholder 6">
            <a:extLst>
              <a:ext uri="{FF2B5EF4-FFF2-40B4-BE49-F238E27FC236}">
                <a16:creationId xmlns=""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=""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9" name="Text Placeholder 6">
            <a:extLst>
              <a:ext uri="{FF2B5EF4-FFF2-40B4-BE49-F238E27FC236}">
                <a16:creationId xmlns=""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0" name="Text Placeholder 6">
            <a:extLst>
              <a:ext uri="{FF2B5EF4-FFF2-40B4-BE49-F238E27FC236}">
                <a16:creationId xmlns=""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=""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2" name="Text Placeholder 6">
            <a:extLst>
              <a:ext uri="{FF2B5EF4-FFF2-40B4-BE49-F238E27FC236}">
                <a16:creationId xmlns=""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3" name="Text Placeholder 6">
            <a:extLst>
              <a:ext uri="{FF2B5EF4-FFF2-40B4-BE49-F238E27FC236}">
                <a16:creationId xmlns=""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=""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5" name="Text Placeholder 6">
            <a:extLst>
              <a:ext uri="{FF2B5EF4-FFF2-40B4-BE49-F238E27FC236}">
                <a16:creationId xmlns=""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6" name="Text Placeholder 6">
            <a:extLst>
              <a:ext uri="{FF2B5EF4-FFF2-40B4-BE49-F238E27FC236}">
                <a16:creationId xmlns=""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=""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8" name="Text Placeholder 6">
            <a:extLst>
              <a:ext uri="{FF2B5EF4-FFF2-40B4-BE49-F238E27FC236}">
                <a16:creationId xmlns=""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9" name="Text Placeholder 6">
            <a:extLst>
              <a:ext uri="{FF2B5EF4-FFF2-40B4-BE49-F238E27FC236}">
                <a16:creationId xmlns=""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=""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1" name="Text Placeholder 6">
            <a:extLst>
              <a:ext uri="{FF2B5EF4-FFF2-40B4-BE49-F238E27FC236}">
                <a16:creationId xmlns=""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2" name="Text Placeholder 6">
            <a:extLst>
              <a:ext uri="{FF2B5EF4-FFF2-40B4-BE49-F238E27FC236}">
                <a16:creationId xmlns=""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=""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4" name="Text Placeholder 6">
            <a:extLst>
              <a:ext uri="{FF2B5EF4-FFF2-40B4-BE49-F238E27FC236}">
                <a16:creationId xmlns=""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5" name="Text Placeholder 6">
            <a:extLst>
              <a:ext uri="{FF2B5EF4-FFF2-40B4-BE49-F238E27FC236}">
                <a16:creationId xmlns=""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6" name="Footer">
            <a:extLst>
              <a:ext uri="{FF2B5EF4-FFF2-40B4-BE49-F238E27FC236}">
                <a16:creationId xmlns=""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7D89C5A-D5D5-48FA-A74B-C4AD0507D11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61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6C520D35-CCB9-4E70-9662-C4E73E3AFD76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A7BA8876-977E-46F0-BBD7-B0B14C588F55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 smtClean="0">
              <a:solidFill>
                <a:prstClr val="white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SwissReSans Light" panose="020B0504020202020204" pitchFamily="34" charset="0"/>
                <a:sym typeface="SwissReSans Light" panose="020B05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SwissReSans Light" panose="020B0504020202020204" pitchFamily="34" charset="0"/>
                <a:sym typeface="SwissReSans Light" panose="020B05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7988" y="537029"/>
            <a:ext cx="11341100" cy="847769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3245"/>
            <a:ext cx="11341100" cy="182563"/>
          </a:xfrm>
        </p:spPr>
        <p:txBody>
          <a:bodyPr anchor="ctr"/>
          <a:lstStyle>
            <a:lvl1pPr marL="0" indent="0">
              <a:buNone/>
              <a:defRPr sz="800">
                <a:latin typeface="SwissReSans Light" panose="020B0504020202020204" pitchFamily="34" charset="0"/>
                <a:sym typeface="SwissReSans Light" panose="020B0504020202020204" pitchFamily="34" charset="0"/>
              </a:defRPr>
            </a:lvl1pPr>
          </a:lstStyle>
          <a:p>
            <a:pPr lvl="0"/>
            <a:r>
              <a:rPr lang="en-GB" dirty="0" smtClean="0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4917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57">
          <p15:clr>
            <a:srgbClr val="FBAE40"/>
          </p15:clr>
        </p15:guide>
        <p15:guide id="3" pos="74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4B56C91-FED5-431D-A3DC-2035B5830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124BB6-867A-486A-A140-13EB2CC197D0}" type="datetime1">
              <a:rPr lang="en-GB" smtClean="0"/>
              <a:t>12/05/2019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D5C44F9-45A1-471D-AE95-8B832B055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533341A-E275-44CD-B4F2-D664C7F11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77D06E0-EE53-495D-B68E-243DF1DF7EE5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46B23407-9C67-49EA-ABF4-04BEACE5393D}"/>
              </a:ext>
            </a:extLst>
          </p:cNvPr>
          <p:cNvCxnSpPr>
            <a:cxnSpLocks/>
          </p:cNvCxnSpPr>
          <p:nvPr/>
        </p:nvCxnSpPr>
        <p:spPr>
          <a:xfrm>
            <a:off x="311161" y="6388481"/>
            <a:ext cx="11424449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aphic 10">
            <a:extLst>
              <a:ext uri="{FF2B5EF4-FFF2-40B4-BE49-F238E27FC236}">
                <a16:creationId xmlns:a16="http://schemas.microsoft.com/office/drawing/2014/main" xmlns="" id="{6B8FD38A-AB64-4AAB-84F1-D5D039F67506}"/>
              </a:ext>
            </a:extLst>
          </p:cNvPr>
          <p:cNvGrpSpPr>
            <a:grpSpLocks/>
          </p:cNvGrpSpPr>
          <p:nvPr userDrawn="1"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chemeClr val="tx2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3BC03675-8F8E-460E-BA63-65BF14E11C39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ED07D10E-5C4E-472D-A169-32818C7F50E6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5420C6DA-1227-4E26-AD37-1BB81C42799F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8779F97E-A9B8-40C8-8426-3FB926F12E38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88A450A4-E86F-4531-BF40-14B13B830343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B90DF884-A99F-45B3-9ED0-60E2DA6386A2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7B5DF95A-5168-410C-9B46-8C481873FEAE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5612B519-DBE5-41C2-861E-E88B7F326433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C5C223C0-C0E8-4562-A29F-6305BEC35D09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8AEEE000-1FE5-4B8A-920B-CBA46EC2F49A}"/>
              </a:ext>
            </a:extLst>
          </p:cNvPr>
          <p:cNvSpPr/>
          <p:nvPr userDrawn="1"/>
        </p:nvSpPr>
        <p:spPr>
          <a:xfrm>
            <a:off x="0" y="15"/>
            <a:ext cx="12192000" cy="127670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OT"/>
              <a:ea typeface="+mn-ea"/>
              <a:cs typeface="+mn-cs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1685D60D-A7F1-4353-8B47-14CBC6C3D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6411" y="220948"/>
            <a:ext cx="7854479" cy="3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9" name="Text Placeholder 90">
            <a:extLst>
              <a:ext uri="{FF2B5EF4-FFF2-40B4-BE49-F238E27FC236}">
                <a16:creationId xmlns:a16="http://schemas.microsoft.com/office/drawing/2014/main" xmlns="" id="{17C02643-C2B1-4155-B1F1-5ABFA848D1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69210" y="-1710235"/>
            <a:ext cx="3390900" cy="3200400"/>
          </a:xfrm>
          <a:blipFill>
            <a:blip r:embed="rId2"/>
            <a:srcRect/>
            <a:stretch>
              <a:fillRect t="68" b="68"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xmlns="" id="{7DCDE170-7FDD-4EDF-AD52-AB49511546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506" y="1051474"/>
            <a:ext cx="2077691" cy="180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xmlns="" id="{F09D2C44-2404-4D55-A71E-D5A63C0D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392" y="649810"/>
            <a:ext cx="7921608" cy="34379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061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1414762" y="6472512"/>
            <a:ext cx="287008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95325" y="1399059"/>
            <a:ext cx="11017250" cy="360064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Subtext Goes Here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/>
          </p:nvPr>
        </p:nvSpPr>
        <p:spPr>
          <a:xfrm>
            <a:off x="695325" y="692151"/>
            <a:ext cx="11017250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9624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&amp; Half Title / Tex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355288E-C6A0-40C7-AC43-344FAB2D93A6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OT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56700BF-261A-4032-87C3-069D7AFC7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D946B5-2AB6-4B2E-8832-F661BF7668C8}" type="datetime1">
              <a:rPr lang="en-GB" smtClean="0"/>
              <a:t>12/05/2019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082A5DB-9707-4363-9295-C4D6C8401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22201" y="6491574"/>
            <a:ext cx="5036867" cy="182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99AEDD0-D662-4CA3-9687-F56F62E6C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77D06E0-EE53-495D-B68E-243DF1DF7EE5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985DE7B5-3E28-4BA2-889C-E44F303CF438}"/>
              </a:ext>
            </a:extLst>
          </p:cNvPr>
          <p:cNvCxnSpPr>
            <a:cxnSpLocks/>
          </p:cNvCxnSpPr>
          <p:nvPr/>
        </p:nvCxnSpPr>
        <p:spPr>
          <a:xfrm>
            <a:off x="6096000" y="6388481"/>
            <a:ext cx="56396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9C0B3DD8-0A5E-4244-ACC7-DB8D1756E4E9}"/>
              </a:ext>
            </a:extLst>
          </p:cNvPr>
          <p:cNvCxnSpPr>
            <a:cxnSpLocks/>
          </p:cNvCxnSpPr>
          <p:nvPr/>
        </p:nvCxnSpPr>
        <p:spPr>
          <a:xfrm>
            <a:off x="311161" y="6388481"/>
            <a:ext cx="5784849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6">
            <a:extLst>
              <a:ext uri="{FF2B5EF4-FFF2-40B4-BE49-F238E27FC236}">
                <a16:creationId xmlns:a16="http://schemas.microsoft.com/office/drawing/2014/main" xmlns="" id="{1CDBDDF4-2F41-40A8-89A7-413BFDF72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0473" y="988726"/>
            <a:ext cx="4969912" cy="487825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9" name="Graphic 10">
            <a:extLst>
              <a:ext uri="{FF2B5EF4-FFF2-40B4-BE49-F238E27FC236}">
                <a16:creationId xmlns:a16="http://schemas.microsoft.com/office/drawing/2014/main" xmlns="" id="{F3677499-E4E8-4CA0-AC98-0A06D9DED70F}"/>
              </a:ext>
            </a:extLst>
          </p:cNvPr>
          <p:cNvGrpSpPr>
            <a:grpSpLocks/>
          </p:cNvGrpSpPr>
          <p:nvPr userDrawn="1"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chemeClr val="bg2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CF56BB74-1C84-49DC-B921-287AE3E67A76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284BE401-ECFA-47E2-B681-BC067D8CD446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18896CAB-314C-4E92-BC07-1D5687FAF70C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825FE73C-8C7A-423D-B746-485862436CB4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23239F97-8F73-4E68-B72E-E173B8B5C133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08DF6B5A-F1F5-4243-B9F5-3ACB0F6311B9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FAC6CBCD-6C0C-49C7-BAA7-6365FE53A2DB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23E0C3BC-ED26-44DA-B6C1-1F07E400BA9B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FBDB22F9-988E-4D4B-A308-62620A7A451E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xmlns="" id="{833D8A14-214C-4A4C-8165-FF991009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6403" y="2865124"/>
            <a:ext cx="5477924" cy="668898"/>
          </a:xfrm>
        </p:spPr>
        <p:txBody>
          <a:bodyPr anchor="b"/>
          <a:lstStyle>
            <a:lvl1pPr>
              <a:tabLst>
                <a:tab pos="898503" algn="l"/>
              </a:tabLst>
              <a:defRPr sz="5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8567252F-B8A1-4A82-A377-2AC479E1642C}"/>
              </a:ext>
            </a:extLst>
          </p:cNvPr>
          <p:cNvCxnSpPr>
            <a:cxnSpLocks/>
          </p:cNvCxnSpPr>
          <p:nvPr userDrawn="1"/>
        </p:nvCxnSpPr>
        <p:spPr>
          <a:xfrm>
            <a:off x="606081" y="3643820"/>
            <a:ext cx="207769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xmlns="" id="{D4AF970C-2DF2-4B37-91BC-0835826D0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50022" y="3829508"/>
            <a:ext cx="3806703" cy="322494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19C512AF-A3BF-4AA4-BA87-20D88667D1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95945" y="-1710235"/>
            <a:ext cx="33909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952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6D5EE11D-C1A1-4FB7-89C5-9A39789A43B5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0C22524-E535-496F-90E3-6FE87E5669AA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>
            <a:extLst>
              <a:ext uri="{FF2B5EF4-FFF2-40B4-BE49-F238E27FC236}">
                <a16:creationId xmlns=""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FFFFFF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FFFFFF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60716746-0A67-48D3-98C6-BEF4A1D9DE9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87737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Click to browse for an own image.</a:t>
            </a:r>
            <a:br>
              <a:rPr lang="en-GB" noProof="1"/>
            </a:br>
            <a:r>
              <a:rPr lang="en-GB" noProof="1"/>
              <a:t>Be careful to avoid an image that clashes</a:t>
            </a:r>
            <a:br>
              <a:rPr lang="en-GB" noProof="1"/>
            </a:br>
            <a:r>
              <a:rPr lang="en-GB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E2E9580D-E57E-43DE-99F7-5FECA41DB1FC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7109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F146786E-D677-4947-B631-AC9E9C80FDEF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4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Swiss Re sigma NatCat webinar | 14 May 2019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5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9068741-2497-4823-ADCF-621AA1488228}"/>
              </a:ext>
            </a:extLst>
          </p:cNvPr>
          <p:cNvPicPr>
            <a:picLocks noChangeAspect="1"/>
          </p:cNvPicPr>
          <p:nvPr userDrawn="1">
            <p:custDataLst>
              <p:tags r:id="rId26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4" r:id="rId7"/>
    <p:sldLayoutId id="2147483665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6" r:id="rId14"/>
    <p:sldLayoutId id="2147483667" r:id="rId15"/>
    <p:sldLayoutId id="2147483658" r:id="rId16"/>
    <p:sldLayoutId id="2147483659" r:id="rId17"/>
    <p:sldLayoutId id="2147483668" r:id="rId18"/>
    <p:sldLayoutId id="2147483669" r:id="rId19"/>
    <p:sldLayoutId id="2147483670" r:id="rId20"/>
    <p:sldLayoutId id="214748367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1.xml"/><Relationship Id="rId7" Type="http://schemas.openxmlformats.org/officeDocument/2006/relationships/image" Target="../media/image17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4.jp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32.jpeg"/><Relationship Id="rId18" Type="http://schemas.openxmlformats.org/officeDocument/2006/relationships/image" Target="../media/image37.png"/><Relationship Id="rId26" Type="http://schemas.openxmlformats.org/officeDocument/2006/relationships/image" Target="../media/image45.jpeg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40.png"/><Relationship Id="rId34" Type="http://schemas.openxmlformats.org/officeDocument/2006/relationships/image" Target="../media/image53.png"/><Relationship Id="rId7" Type="http://schemas.openxmlformats.org/officeDocument/2006/relationships/image" Target="../media/image7.emf"/><Relationship Id="rId12" Type="http://schemas.microsoft.com/office/2007/relationships/hdphoto" Target="../media/hdphoto2.wdp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33" Type="http://schemas.openxmlformats.org/officeDocument/2006/relationships/image" Target="../media/image52.png"/><Relationship Id="rId38" Type="http://schemas.openxmlformats.org/officeDocument/2006/relationships/image" Target="../media/image57.png"/><Relationship Id="rId2" Type="http://schemas.openxmlformats.org/officeDocument/2006/relationships/tags" Target="../tags/tag52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1.png"/><Relationship Id="rId24" Type="http://schemas.openxmlformats.org/officeDocument/2006/relationships/image" Target="../media/image43.png"/><Relationship Id="rId32" Type="http://schemas.openxmlformats.org/officeDocument/2006/relationships/image" Target="../media/image51.jpeg"/><Relationship Id="rId37" Type="http://schemas.openxmlformats.org/officeDocument/2006/relationships/image" Target="../media/image56.png"/><Relationship Id="rId5" Type="http://schemas.openxmlformats.org/officeDocument/2006/relationships/image" Target="../media/image29.jpe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jpeg"/><Relationship Id="rId36" Type="http://schemas.openxmlformats.org/officeDocument/2006/relationships/image" Target="../media/image55.png"/><Relationship Id="rId10" Type="http://schemas.microsoft.com/office/2007/relationships/hdphoto" Target="../media/hdphoto1.wdp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0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Relationship Id="rId35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="" xmlns:a16="http://schemas.microsoft.com/office/drawing/2014/main" id="{41259A5F-569B-43E7-ACAC-44B9E7284DF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solidFill>
            <a:srgbClr val="FFFFFF"/>
          </a:solidFill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64B209AE-EE91-407C-BCC7-3ED67ECA472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0" y="1289050"/>
            <a:ext cx="12192000" cy="2136775"/>
          </a:xfrm>
          <a:prstGeom prst="rect">
            <a:avLst/>
          </a:prstGeom>
          <a:gradFill flip="none" rotWithShape="0">
            <a:gsLst>
              <a:gs pos="0">
                <a:schemeClr val="bg2">
                  <a:alpha val="80000"/>
                </a:schemeClr>
              </a:gs>
              <a:gs pos="100000">
                <a:schemeClr val="tx2">
                  <a:alpha val="8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Old challenges, new solutions</a:t>
            </a:r>
            <a:endParaRPr lang="en-GB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Pavel Huerta Uribe, Senior Property Treaty Underwrit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6FF6B1D3-BD33-44B3-A498-B2501E17408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18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2"/>
          <p:cNvPicPr>
            <a:picLocks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28" t="3040" b="1"/>
          <a:stretch/>
        </p:blipFill>
        <p:spPr bwMode="gray">
          <a:xfrm>
            <a:off x="5983707" y="-27384"/>
            <a:ext cx="6222899" cy="6890009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-19844" y="-27384"/>
            <a:ext cx="6052171" cy="6858001"/>
          </a:xfrm>
          <a:prstGeom prst="rect">
            <a:avLst/>
          </a:prstGeom>
          <a:gradFill flip="none" rotWithShape="1">
            <a:gsLst>
              <a:gs pos="0">
                <a:srgbClr val="1755A6"/>
              </a:gs>
              <a:gs pos="99000">
                <a:srgbClr val="20C2F3"/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SwissReSans Light" panose="020B0504020202020204" pitchFamily="34" charset="0"/>
              <a:ea typeface="+mn-ea"/>
              <a:cs typeface="+mn-cs"/>
              <a:sym typeface="SwissReSans Light" panose="020B05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7D06E0-EE53-495D-B68E-243DF1DF7EE5}" type="slidenum">
              <a:rPr lang="en-GB" smtClean="0">
                <a:solidFill>
                  <a:srgbClr val="627D77"/>
                </a:solidFill>
              </a:rPr>
              <a:pPr/>
              <a:t>2</a:t>
            </a:fld>
            <a:endParaRPr lang="en-GB" dirty="0">
              <a:solidFill>
                <a:srgbClr val="627D77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5"/>
          <a:srcRect t="53848" r="49273"/>
          <a:stretch/>
        </p:blipFill>
        <p:spPr>
          <a:xfrm>
            <a:off x="10494117" y="-27384"/>
            <a:ext cx="1722563" cy="1477193"/>
          </a:xfrm>
          <a:prstGeom prst="rect">
            <a:avLst/>
          </a:prstGeom>
        </p:spPr>
      </p:pic>
      <p:sp>
        <p:nvSpPr>
          <p:cNvPr id="36" name="Oval 35"/>
          <p:cNvSpPr/>
          <p:nvPr/>
        </p:nvSpPr>
        <p:spPr>
          <a:xfrm>
            <a:off x="6537164" y="178054"/>
            <a:ext cx="2537244" cy="2589054"/>
          </a:xfrm>
          <a:prstGeom prst="ellipse">
            <a:avLst/>
          </a:prstGeom>
          <a:gradFill>
            <a:gsLst>
              <a:gs pos="0">
                <a:srgbClr val="0070C0"/>
              </a:gs>
              <a:gs pos="100000">
                <a:srgbClr val="00B0F0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693822" y="652921"/>
            <a:ext cx="223278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u="sng" dirty="0" smtClean="0">
                <a:solidFill>
                  <a:prstClr val="white"/>
                </a:solidFill>
              </a:rPr>
              <a:t>EUROPE &amp; AFRICA: </a:t>
            </a:r>
            <a:endParaRPr lang="en-GB" u="sng" dirty="0">
              <a:solidFill>
                <a:prstClr val="white"/>
              </a:solidFill>
            </a:endParaRPr>
          </a:p>
          <a:p>
            <a:pPr algn="ctr"/>
            <a:r>
              <a:rPr lang="en-GB" b="1" dirty="0">
                <a:solidFill>
                  <a:prstClr val="white"/>
                </a:solidFill>
              </a:rPr>
              <a:t>USD </a:t>
            </a:r>
            <a:r>
              <a:rPr lang="en-GB" sz="4500" b="1" dirty="0" smtClean="0">
                <a:solidFill>
                  <a:prstClr val="white"/>
                </a:solidFill>
              </a:rPr>
              <a:t>18.5</a:t>
            </a:r>
            <a:r>
              <a:rPr lang="en-GB" b="1" dirty="0" smtClean="0">
                <a:solidFill>
                  <a:prstClr val="white"/>
                </a:solidFill>
              </a:rPr>
              <a:t> </a:t>
            </a:r>
            <a:r>
              <a:rPr lang="en-GB" b="1" dirty="0" err="1">
                <a:solidFill>
                  <a:prstClr val="white"/>
                </a:solidFill>
              </a:rPr>
              <a:t>bn</a:t>
            </a:r>
            <a:r>
              <a:rPr lang="en-GB" b="1" dirty="0">
                <a:solidFill>
                  <a:prstClr val="white"/>
                </a:solidFill>
              </a:rPr>
              <a:t> </a:t>
            </a:r>
            <a:r>
              <a:rPr lang="en-GB" dirty="0">
                <a:solidFill>
                  <a:prstClr val="white"/>
                </a:solidFill>
              </a:rPr>
              <a:t>economic losses </a:t>
            </a:r>
            <a:r>
              <a:rPr lang="en-GB" dirty="0" smtClean="0">
                <a:solidFill>
                  <a:prstClr val="white"/>
                </a:solidFill>
              </a:rPr>
              <a:t>  in 2018 </a:t>
            </a:r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00273" y="2085771"/>
            <a:ext cx="2961882" cy="3213820"/>
            <a:chOff x="545112" y="2089311"/>
            <a:chExt cx="2961882" cy="3213820"/>
          </a:xfrm>
        </p:grpSpPr>
        <p:sp>
          <p:nvSpPr>
            <p:cNvPr id="38" name="Oval 37"/>
            <p:cNvSpPr/>
            <p:nvPr/>
          </p:nvSpPr>
          <p:spPr>
            <a:xfrm>
              <a:off x="626994" y="2261999"/>
              <a:ext cx="2880000" cy="2880000"/>
            </a:xfrm>
            <a:prstGeom prst="ellipse">
              <a:avLst/>
            </a:prstGeom>
            <a:gradFill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450"/>
                </a:spcAft>
              </a:pPr>
              <a:endParaRPr lang="en-GB" sz="900" dirty="0">
                <a:solidFill>
                  <a:schemeClr val="tx1"/>
                </a:solidFill>
              </a:endParaRPr>
            </a:p>
          </p:txBody>
        </p:sp>
        <p:sp>
          <p:nvSpPr>
            <p:cNvPr id="39" name="Arc 38">
              <a:extLst>
                <a:ext uri="{FF2B5EF4-FFF2-40B4-BE49-F238E27FC236}">
                  <a16:creationId xmlns:a16="http://schemas.microsoft.com/office/drawing/2014/main" xmlns="" id="{28EEC25B-8159-4EC1-9AA4-F30BA569B487}"/>
                </a:ext>
              </a:extLst>
            </p:cNvPr>
            <p:cNvSpPr/>
            <p:nvPr/>
          </p:nvSpPr>
          <p:spPr>
            <a:xfrm>
              <a:off x="545112" y="2089311"/>
              <a:ext cx="2880000" cy="3213820"/>
            </a:xfrm>
            <a:prstGeom prst="arc">
              <a:avLst>
                <a:gd name="adj1" fmla="val 7394416"/>
                <a:gd name="adj2" fmla="val 14064517"/>
              </a:avLst>
            </a:prstGeom>
            <a:ln w="41275" cap="rnd">
              <a:solidFill>
                <a:srgbClr val="00B0F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8994" y="2356039"/>
              <a:ext cx="2736000" cy="2691920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42" name="Pie 41"/>
            <p:cNvSpPr/>
            <p:nvPr/>
          </p:nvSpPr>
          <p:spPr>
            <a:xfrm flipH="1">
              <a:off x="698994" y="2333999"/>
              <a:ext cx="2736000" cy="2736000"/>
            </a:xfrm>
            <a:prstGeom prst="pie">
              <a:avLst>
                <a:gd name="adj1" fmla="val 3100687"/>
                <a:gd name="adj2" fmla="val 1621240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450"/>
                </a:spcAft>
              </a:pPr>
              <a:endParaRPr lang="en-GB" sz="900" dirty="0">
                <a:solidFill>
                  <a:schemeClr val="tx1"/>
                </a:solidFill>
              </a:endParaRPr>
            </a:p>
          </p:txBody>
        </p:sp>
      </p:grpSp>
      <p:sp>
        <p:nvSpPr>
          <p:cNvPr id="43" name="Text Placeholder 6"/>
          <p:cNvSpPr txBox="1">
            <a:spLocks/>
          </p:cNvSpPr>
          <p:nvPr/>
        </p:nvSpPr>
        <p:spPr>
          <a:xfrm>
            <a:off x="1659380" y="3145027"/>
            <a:ext cx="1724315" cy="1317291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 smtClean="0">
                <a:solidFill>
                  <a:schemeClr val="tx2"/>
                </a:solidFill>
              </a:rPr>
              <a:t>73%</a:t>
            </a:r>
            <a:endParaRPr lang="en-GB" sz="44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GB" sz="2000" b="1" dirty="0" smtClean="0">
                <a:solidFill>
                  <a:schemeClr val="tx2"/>
                </a:solidFill>
              </a:rPr>
              <a:t>uninsured</a:t>
            </a:r>
            <a:endParaRPr lang="en-GB" sz="1200" b="1" dirty="0">
              <a:solidFill>
                <a:schemeClr val="tx2"/>
              </a:solidFill>
            </a:endParaRP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2432727" y="2502693"/>
            <a:ext cx="1578656" cy="1097756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3750" dirty="0">
              <a:solidFill>
                <a:schemeClr val="tx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271758" y="2439139"/>
            <a:ext cx="2601386" cy="1047758"/>
            <a:chOff x="3271758" y="2439139"/>
            <a:chExt cx="2601386" cy="1047758"/>
          </a:xfrm>
        </p:grpSpPr>
        <p:sp>
          <p:nvSpPr>
            <p:cNvPr id="46" name="TextBox 45"/>
            <p:cNvSpPr txBox="1"/>
            <p:nvPr/>
          </p:nvSpPr>
          <p:spPr>
            <a:xfrm>
              <a:off x="5189944" y="2439139"/>
              <a:ext cx="68320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9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Wildfires </a:t>
              </a: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8727" y="2710636"/>
              <a:ext cx="675000" cy="675000"/>
            </a:xfrm>
            <a:prstGeom prst="rect">
              <a:avLst/>
            </a:prstGeom>
          </p:spPr>
        </p:pic>
        <p:sp>
          <p:nvSpPr>
            <p:cNvPr id="57" name="TextBox 56"/>
            <p:cNvSpPr txBox="1"/>
            <p:nvPr/>
          </p:nvSpPr>
          <p:spPr>
            <a:xfrm>
              <a:off x="3271758" y="2471234"/>
              <a:ext cx="2012089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Economic USD loss: </a:t>
              </a:r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0.3bn</a:t>
              </a:r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Insured USD loss: </a:t>
              </a:r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0.1bn</a:t>
              </a:r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74% </a:t>
              </a:r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uninsured</a:t>
              </a:r>
            </a:p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  </a:t>
              </a:r>
            </a:p>
          </p:txBody>
        </p:sp>
      </p:grpSp>
      <p:grpSp>
        <p:nvGrpSpPr>
          <p:cNvPr id="59" name="Graphic 10">
            <a:extLst>
              <a:ext uri="{FF2B5EF4-FFF2-40B4-BE49-F238E27FC236}">
                <a16:creationId xmlns="" xmlns:a16="http://schemas.microsoft.com/office/drawing/2014/main" id="{7F488C1B-2ECC-4B6F-96EC-1307AA06AC9D}"/>
              </a:ext>
            </a:extLst>
          </p:cNvPr>
          <p:cNvGrpSpPr>
            <a:grpSpLocks/>
          </p:cNvGrpSpPr>
          <p:nvPr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rgbClr val="FFFFFF"/>
          </a:solidFill>
        </p:grpSpPr>
        <p:sp>
          <p:nvSpPr>
            <p:cNvPr id="60" name="Freeform: Shape 41">
              <a:extLst>
                <a:ext uri="{FF2B5EF4-FFF2-40B4-BE49-F238E27FC236}">
                  <a16:creationId xmlns="" xmlns:a16="http://schemas.microsoft.com/office/drawing/2014/main" id="{84984209-FB45-4B0B-8900-15EF4913310D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1" name="Freeform: Shape 42">
              <a:extLst>
                <a:ext uri="{FF2B5EF4-FFF2-40B4-BE49-F238E27FC236}">
                  <a16:creationId xmlns="" xmlns:a16="http://schemas.microsoft.com/office/drawing/2014/main" id="{DF5FB361-169A-478A-A6F4-FB5FC9E36991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2" name="Freeform: Shape 43">
              <a:extLst>
                <a:ext uri="{FF2B5EF4-FFF2-40B4-BE49-F238E27FC236}">
                  <a16:creationId xmlns="" xmlns:a16="http://schemas.microsoft.com/office/drawing/2014/main" id="{BE69DF83-FBC0-41E8-AEFB-062D40277FD9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3" name="Freeform: Shape 44">
              <a:extLst>
                <a:ext uri="{FF2B5EF4-FFF2-40B4-BE49-F238E27FC236}">
                  <a16:creationId xmlns="" xmlns:a16="http://schemas.microsoft.com/office/drawing/2014/main" id="{D4F479F7-E2C9-4077-912F-8353F1F383B6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4" name="Freeform: Shape 45">
              <a:extLst>
                <a:ext uri="{FF2B5EF4-FFF2-40B4-BE49-F238E27FC236}">
                  <a16:creationId xmlns="" xmlns:a16="http://schemas.microsoft.com/office/drawing/2014/main" id="{A8E3DB37-4240-4FC7-B7CD-8BA082CDA00F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5" name="Freeform: Shape 46">
              <a:extLst>
                <a:ext uri="{FF2B5EF4-FFF2-40B4-BE49-F238E27FC236}">
                  <a16:creationId xmlns="" xmlns:a16="http://schemas.microsoft.com/office/drawing/2014/main" id="{B9620230-D485-4F45-8751-46827E6A8D8C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6" name="Freeform: Shape 47">
              <a:extLst>
                <a:ext uri="{FF2B5EF4-FFF2-40B4-BE49-F238E27FC236}">
                  <a16:creationId xmlns="" xmlns:a16="http://schemas.microsoft.com/office/drawing/2014/main" id="{F4999380-97DA-40BA-8B24-D6171BCF7896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7" name="Freeform: Shape 48">
              <a:extLst>
                <a:ext uri="{FF2B5EF4-FFF2-40B4-BE49-F238E27FC236}">
                  <a16:creationId xmlns="" xmlns:a16="http://schemas.microsoft.com/office/drawing/2014/main" id="{A993B365-95EB-4F8E-BB12-3F7DFDF0B355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8" name="Freeform: Shape 49">
              <a:extLst>
                <a:ext uri="{FF2B5EF4-FFF2-40B4-BE49-F238E27FC236}">
                  <a16:creationId xmlns="" xmlns:a16="http://schemas.microsoft.com/office/drawing/2014/main" id="{EF1B278E-DB13-4B7A-88EB-B9D6AD816E46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966811" y="4653136"/>
            <a:ext cx="2728685" cy="1060900"/>
            <a:chOff x="2966811" y="4653136"/>
            <a:chExt cx="2728685" cy="1060900"/>
          </a:xfrm>
        </p:grpSpPr>
        <p:sp>
          <p:nvSpPr>
            <p:cNvPr id="50" name="TextBox 49"/>
            <p:cNvSpPr txBox="1"/>
            <p:nvPr/>
          </p:nvSpPr>
          <p:spPr>
            <a:xfrm>
              <a:off x="4988894" y="4665595"/>
              <a:ext cx="60305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9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Drought</a:t>
              </a:r>
              <a:endParaRPr lang="en-GB" sz="9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966811" y="4653136"/>
              <a:ext cx="199561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Economic USD loss: </a:t>
              </a:r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7.3bn</a:t>
              </a:r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Insured USD loss: </a:t>
              </a:r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0.3bn</a:t>
              </a:r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96% </a:t>
              </a:r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uninsured</a:t>
              </a:r>
            </a:p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  </a:t>
              </a: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7887" y="4896427"/>
              <a:ext cx="817609" cy="817609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1445116" y="504474"/>
            <a:ext cx="2751966" cy="1139270"/>
            <a:chOff x="1445116" y="504474"/>
            <a:chExt cx="2751966" cy="1139270"/>
          </a:xfrm>
        </p:grpSpPr>
        <p:sp>
          <p:nvSpPr>
            <p:cNvPr id="55" name="TextBox 54"/>
            <p:cNvSpPr txBox="1"/>
            <p:nvPr/>
          </p:nvSpPr>
          <p:spPr>
            <a:xfrm>
              <a:off x="3554090" y="504474"/>
              <a:ext cx="5822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9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Storms 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445116" y="628081"/>
              <a:ext cx="2012089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Economic USD loss: </a:t>
              </a:r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8.9bn</a:t>
              </a:r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Insured USD loss: </a:t>
              </a:r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3.9bn</a:t>
              </a:r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endParaRPr lang="en-GB" sz="1200" b="1" dirty="0">
                <a:solidFill>
                  <a:schemeClr val="bg1"/>
                </a:solidFill>
                <a:latin typeface="SwissReSans Light" panose="020B0504020202020204" pitchFamily="34" charset="0"/>
              </a:endParaRPr>
            </a:p>
            <a:p>
              <a:r>
                <a:rPr lang="en-GB" sz="1200" b="1" dirty="0" smtClean="0">
                  <a:solidFill>
                    <a:schemeClr val="bg1"/>
                  </a:solidFill>
                  <a:latin typeface="SwissReSans Light" panose="020B0504020202020204" pitchFamily="34" charset="0"/>
                </a:rPr>
                <a:t>57% </a:t>
              </a:r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uninsured</a:t>
              </a:r>
            </a:p>
            <a:p>
              <a:r>
                <a:rPr lang="en-GB" sz="1200" b="1" dirty="0">
                  <a:solidFill>
                    <a:schemeClr val="bg1"/>
                  </a:solidFill>
                  <a:latin typeface="SwissReSans Light" panose="020B0504020202020204" pitchFamily="34" charset="0"/>
                </a:rPr>
                <a:t>  </a:t>
              </a: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2921" y="755648"/>
              <a:ext cx="694161" cy="6941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12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106"/>
          <p:cNvSpPr/>
          <p:nvPr/>
        </p:nvSpPr>
        <p:spPr>
          <a:xfrm>
            <a:off x="0" y="0"/>
            <a:ext cx="12192000" cy="1273567"/>
          </a:xfrm>
          <a:prstGeom prst="rect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 algn="ctr">
            <a:noFill/>
            <a:prstDash val="solid"/>
            <a:bevel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   Getting closer to</a:t>
            </a:r>
            <a:r>
              <a:rPr kumimoji="0" lang="en-US" sz="3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 the consumers’ needs</a:t>
            </a:r>
            <a:endParaRPr kumimoji="0" lang="en-US" sz="3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ReSans Light" panose="020B05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 smtClean="0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8" b="2139"/>
          <a:stretch>
            <a:fillRect/>
          </a:stretch>
        </p:blipFill>
        <p:spPr>
          <a:xfrm>
            <a:off x="0" y="1273567"/>
            <a:ext cx="12192000" cy="5584433"/>
          </a:xfrm>
          <a:custGeom>
            <a:avLst/>
            <a:gdLst>
              <a:gd name="connsiteX0" fmla="*/ 0 w 12192000"/>
              <a:gd name="connsiteY0" fmla="*/ 0 h 5229200"/>
              <a:gd name="connsiteX1" fmla="*/ 12192000 w 12192000"/>
              <a:gd name="connsiteY1" fmla="*/ 0 h 5229200"/>
              <a:gd name="connsiteX2" fmla="*/ 12192000 w 12192000"/>
              <a:gd name="connsiteY2" fmla="*/ 5229200 h 5229200"/>
              <a:gd name="connsiteX3" fmla="*/ 0 w 12192000"/>
              <a:gd name="connsiteY3" fmla="*/ 5229200 h 52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29200">
                <a:moveTo>
                  <a:pt x="0" y="0"/>
                </a:moveTo>
                <a:lnTo>
                  <a:pt x="12192000" y="0"/>
                </a:lnTo>
                <a:lnTo>
                  <a:pt x="12192000" y="5229200"/>
                </a:lnTo>
                <a:lnTo>
                  <a:pt x="0" y="5229200"/>
                </a:lnTo>
                <a:close/>
              </a:path>
            </a:pathLst>
          </a:custGeom>
        </p:spPr>
      </p:pic>
      <p:sp>
        <p:nvSpPr>
          <p:cNvPr id="103" name="Rectangle: Rounded Corners 41">
            <a:extLst>
              <a:ext uri="{FF2B5EF4-FFF2-40B4-BE49-F238E27FC236}">
                <a16:creationId xmlns="" xmlns:a16="http://schemas.microsoft.com/office/drawing/2014/main" xmlns:lc="http://schemas.openxmlformats.org/drawingml/2006/lockedCanvas" id="{E1737D0D-795A-4198-B311-AF0F275CB4AF}"/>
              </a:ext>
            </a:extLst>
          </p:cNvPr>
          <p:cNvSpPr/>
          <p:nvPr/>
        </p:nvSpPr>
        <p:spPr>
          <a:xfrm>
            <a:off x="465861" y="4016418"/>
            <a:ext cx="11341101" cy="2173903"/>
          </a:xfrm>
          <a:prstGeom prst="round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000" b="1" dirty="0">
              <a:solidFill>
                <a:schemeClr val="tx2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04" name="Freeform: Shape 77">
            <a:extLst>
              <a:ext uri="{FF2B5EF4-FFF2-40B4-BE49-F238E27FC236}">
                <a16:creationId xmlns="" xmlns:a16="http://schemas.microsoft.com/office/drawing/2014/main" xmlns:lc="http://schemas.openxmlformats.org/drawingml/2006/lockedCanvas" id="{092957D4-D774-4FB8-96C0-AEA901BF7F55}"/>
              </a:ext>
            </a:extLst>
          </p:cNvPr>
          <p:cNvSpPr/>
          <p:nvPr/>
        </p:nvSpPr>
        <p:spPr>
          <a:xfrm>
            <a:off x="465862" y="4016418"/>
            <a:ext cx="458704" cy="2173903"/>
          </a:xfrm>
          <a:custGeom>
            <a:avLst/>
            <a:gdLst>
              <a:gd name="connsiteX0" fmla="*/ 181652 w 229972"/>
              <a:gd name="connsiteY0" fmla="*/ 0 h 1089891"/>
              <a:gd name="connsiteX1" fmla="*/ 229972 w 229972"/>
              <a:gd name="connsiteY1" fmla="*/ 0 h 1089891"/>
              <a:gd name="connsiteX2" fmla="*/ 229972 w 229972"/>
              <a:gd name="connsiteY2" fmla="*/ 1089891 h 1089891"/>
              <a:gd name="connsiteX3" fmla="*/ 181652 w 229972"/>
              <a:gd name="connsiteY3" fmla="*/ 1089891 h 1089891"/>
              <a:gd name="connsiteX4" fmla="*/ 0 w 229972"/>
              <a:gd name="connsiteY4" fmla="*/ 908239 h 1089891"/>
              <a:gd name="connsiteX5" fmla="*/ 0 w 229972"/>
              <a:gd name="connsiteY5" fmla="*/ 181652 h 1089891"/>
              <a:gd name="connsiteX6" fmla="*/ 181652 w 229972"/>
              <a:gd name="connsiteY6" fmla="*/ 0 h 1089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9972" h="1089891">
                <a:moveTo>
                  <a:pt x="181652" y="0"/>
                </a:moveTo>
                <a:lnTo>
                  <a:pt x="229972" y="0"/>
                </a:lnTo>
                <a:lnTo>
                  <a:pt x="229972" y="1089891"/>
                </a:lnTo>
                <a:lnTo>
                  <a:pt x="181652" y="1089891"/>
                </a:lnTo>
                <a:cubicBezTo>
                  <a:pt x="81328" y="1089891"/>
                  <a:pt x="0" y="1008563"/>
                  <a:pt x="0" y="908239"/>
                </a:cubicBezTo>
                <a:lnTo>
                  <a:pt x="0" y="181652"/>
                </a:lnTo>
                <a:cubicBezTo>
                  <a:pt x="0" y="81328"/>
                  <a:pt x="81328" y="0"/>
                  <a:pt x="181652" y="0"/>
                </a:cubicBezTo>
                <a:close/>
              </a:path>
            </a:pathLst>
          </a:custGeom>
          <a:solidFill>
            <a:srgbClr val="1755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b="1" dirty="0" smtClean="0">
                <a:latin typeface="SwissReSans Light" panose="020B0504020202020204" pitchFamily="34" charset="0"/>
                <a:sym typeface="SwissReSans Light" panose="020B0504020202020204" pitchFamily="34" charset="0"/>
              </a:rPr>
              <a:t>Consumers</a:t>
            </a:r>
            <a:endParaRPr lang="en-GB" sz="1600" b="1" dirty="0"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 bwMode="gray">
          <a:xfrm>
            <a:off x="2471663" y="4458771"/>
            <a:ext cx="14985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Get in touch with the </a:t>
            </a:r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end-consumer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75" name="Freeform 174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2344988" y="5548024"/>
            <a:ext cx="2444308" cy="410355"/>
          </a:xfrm>
          <a:custGeom>
            <a:avLst/>
            <a:gdLst>
              <a:gd name="connsiteX0" fmla="*/ 77678 w 2444308"/>
              <a:gd name="connsiteY0" fmla="*/ 0 h 594764"/>
              <a:gd name="connsiteX1" fmla="*/ 2366629 w 2444308"/>
              <a:gd name="connsiteY1" fmla="*/ 0 h 594764"/>
              <a:gd name="connsiteX2" fmla="*/ 2396490 w 2444308"/>
              <a:gd name="connsiteY2" fmla="*/ 96255 h 594764"/>
              <a:gd name="connsiteX3" fmla="*/ 2444308 w 2444308"/>
              <a:gd name="connsiteY3" fmla="*/ 184409 h 594764"/>
              <a:gd name="connsiteX4" fmla="*/ 2370266 w 2444308"/>
              <a:gd name="connsiteY4" fmla="*/ 244317 h 594764"/>
              <a:gd name="connsiteX5" fmla="*/ 1222154 w 2444308"/>
              <a:gd name="connsiteY5" fmla="*/ 594764 h 594764"/>
              <a:gd name="connsiteX6" fmla="*/ 74043 w 2444308"/>
              <a:gd name="connsiteY6" fmla="*/ 244317 h 594764"/>
              <a:gd name="connsiteX7" fmla="*/ 0 w 2444308"/>
              <a:gd name="connsiteY7" fmla="*/ 184409 h 594764"/>
              <a:gd name="connsiteX8" fmla="*/ 47818 w 2444308"/>
              <a:gd name="connsiteY8" fmla="*/ 96255 h 594764"/>
              <a:gd name="connsiteX0" fmla="*/ 2366629 w 2458069"/>
              <a:gd name="connsiteY0" fmla="*/ 0 h 594764"/>
              <a:gd name="connsiteX1" fmla="*/ 2396490 w 2458069"/>
              <a:gd name="connsiteY1" fmla="*/ 96255 h 594764"/>
              <a:gd name="connsiteX2" fmla="*/ 2444308 w 2458069"/>
              <a:gd name="connsiteY2" fmla="*/ 184409 h 594764"/>
              <a:gd name="connsiteX3" fmla="*/ 2370266 w 2458069"/>
              <a:gd name="connsiteY3" fmla="*/ 244317 h 594764"/>
              <a:gd name="connsiteX4" fmla="*/ 1222154 w 2458069"/>
              <a:gd name="connsiteY4" fmla="*/ 594764 h 594764"/>
              <a:gd name="connsiteX5" fmla="*/ 74043 w 2458069"/>
              <a:gd name="connsiteY5" fmla="*/ 244317 h 594764"/>
              <a:gd name="connsiteX6" fmla="*/ 0 w 2458069"/>
              <a:gd name="connsiteY6" fmla="*/ 184409 h 594764"/>
              <a:gd name="connsiteX7" fmla="*/ 47818 w 2458069"/>
              <a:gd name="connsiteY7" fmla="*/ 96255 h 594764"/>
              <a:gd name="connsiteX8" fmla="*/ 77678 w 2458069"/>
              <a:gd name="connsiteY8" fmla="*/ 0 h 594764"/>
              <a:gd name="connsiteX9" fmla="*/ 2458069 w 2458069"/>
              <a:gd name="connsiteY9" fmla="*/ 91440 h 594764"/>
              <a:gd name="connsiteX0" fmla="*/ 2366629 w 2458069"/>
              <a:gd name="connsiteY0" fmla="*/ 0 h 594764"/>
              <a:gd name="connsiteX1" fmla="*/ 2444308 w 2458069"/>
              <a:gd name="connsiteY1" fmla="*/ 184409 h 594764"/>
              <a:gd name="connsiteX2" fmla="*/ 2370266 w 2458069"/>
              <a:gd name="connsiteY2" fmla="*/ 244317 h 594764"/>
              <a:gd name="connsiteX3" fmla="*/ 1222154 w 2458069"/>
              <a:gd name="connsiteY3" fmla="*/ 594764 h 594764"/>
              <a:gd name="connsiteX4" fmla="*/ 74043 w 2458069"/>
              <a:gd name="connsiteY4" fmla="*/ 244317 h 594764"/>
              <a:gd name="connsiteX5" fmla="*/ 0 w 2458069"/>
              <a:gd name="connsiteY5" fmla="*/ 184409 h 594764"/>
              <a:gd name="connsiteX6" fmla="*/ 47818 w 2458069"/>
              <a:gd name="connsiteY6" fmla="*/ 96255 h 594764"/>
              <a:gd name="connsiteX7" fmla="*/ 77678 w 2458069"/>
              <a:gd name="connsiteY7" fmla="*/ 0 h 594764"/>
              <a:gd name="connsiteX8" fmla="*/ 2458069 w 2458069"/>
              <a:gd name="connsiteY8" fmla="*/ 91440 h 594764"/>
              <a:gd name="connsiteX0" fmla="*/ 2444308 w 2458069"/>
              <a:gd name="connsiteY0" fmla="*/ 184409 h 594764"/>
              <a:gd name="connsiteX1" fmla="*/ 2370266 w 2458069"/>
              <a:gd name="connsiteY1" fmla="*/ 244317 h 594764"/>
              <a:gd name="connsiteX2" fmla="*/ 1222154 w 2458069"/>
              <a:gd name="connsiteY2" fmla="*/ 594764 h 594764"/>
              <a:gd name="connsiteX3" fmla="*/ 74043 w 2458069"/>
              <a:gd name="connsiteY3" fmla="*/ 244317 h 594764"/>
              <a:gd name="connsiteX4" fmla="*/ 0 w 2458069"/>
              <a:gd name="connsiteY4" fmla="*/ 184409 h 594764"/>
              <a:gd name="connsiteX5" fmla="*/ 47818 w 2458069"/>
              <a:gd name="connsiteY5" fmla="*/ 96255 h 594764"/>
              <a:gd name="connsiteX6" fmla="*/ 77678 w 2458069"/>
              <a:gd name="connsiteY6" fmla="*/ 0 h 594764"/>
              <a:gd name="connsiteX7" fmla="*/ 2458069 w 2458069"/>
              <a:gd name="connsiteY7" fmla="*/ 91440 h 594764"/>
              <a:gd name="connsiteX0" fmla="*/ 2444308 w 2444308"/>
              <a:gd name="connsiteY0" fmla="*/ 184409 h 594764"/>
              <a:gd name="connsiteX1" fmla="*/ 2370266 w 2444308"/>
              <a:gd name="connsiteY1" fmla="*/ 244317 h 594764"/>
              <a:gd name="connsiteX2" fmla="*/ 1222154 w 2444308"/>
              <a:gd name="connsiteY2" fmla="*/ 594764 h 594764"/>
              <a:gd name="connsiteX3" fmla="*/ 74043 w 2444308"/>
              <a:gd name="connsiteY3" fmla="*/ 244317 h 594764"/>
              <a:gd name="connsiteX4" fmla="*/ 0 w 2444308"/>
              <a:gd name="connsiteY4" fmla="*/ 184409 h 594764"/>
              <a:gd name="connsiteX5" fmla="*/ 47818 w 2444308"/>
              <a:gd name="connsiteY5" fmla="*/ 96255 h 594764"/>
              <a:gd name="connsiteX6" fmla="*/ 77678 w 2444308"/>
              <a:gd name="connsiteY6" fmla="*/ 0 h 594764"/>
              <a:gd name="connsiteX0" fmla="*/ 2444308 w 2444308"/>
              <a:gd name="connsiteY0" fmla="*/ 88154 h 498509"/>
              <a:gd name="connsiteX1" fmla="*/ 2370266 w 2444308"/>
              <a:gd name="connsiteY1" fmla="*/ 148062 h 498509"/>
              <a:gd name="connsiteX2" fmla="*/ 1222154 w 2444308"/>
              <a:gd name="connsiteY2" fmla="*/ 498509 h 498509"/>
              <a:gd name="connsiteX3" fmla="*/ 74043 w 2444308"/>
              <a:gd name="connsiteY3" fmla="*/ 148062 h 498509"/>
              <a:gd name="connsiteX4" fmla="*/ 0 w 2444308"/>
              <a:gd name="connsiteY4" fmla="*/ 88154 h 498509"/>
              <a:gd name="connsiteX5" fmla="*/ 47818 w 2444308"/>
              <a:gd name="connsiteY5" fmla="*/ 0 h 498509"/>
              <a:gd name="connsiteX0" fmla="*/ 2444308 w 2444308"/>
              <a:gd name="connsiteY0" fmla="*/ 0 h 410355"/>
              <a:gd name="connsiteX1" fmla="*/ 2370266 w 2444308"/>
              <a:gd name="connsiteY1" fmla="*/ 59908 h 410355"/>
              <a:gd name="connsiteX2" fmla="*/ 1222154 w 2444308"/>
              <a:gd name="connsiteY2" fmla="*/ 410355 h 410355"/>
              <a:gd name="connsiteX3" fmla="*/ 74043 w 2444308"/>
              <a:gd name="connsiteY3" fmla="*/ 59908 h 410355"/>
              <a:gd name="connsiteX4" fmla="*/ 0 w 2444308"/>
              <a:gd name="connsiteY4" fmla="*/ 0 h 41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4308" h="410355">
                <a:moveTo>
                  <a:pt x="2444308" y="0"/>
                </a:moveTo>
                <a:lnTo>
                  <a:pt x="2370266" y="59908"/>
                </a:lnTo>
                <a:cubicBezTo>
                  <a:pt x="2067029" y="277647"/>
                  <a:pt x="1664209" y="410355"/>
                  <a:pt x="1222154" y="410355"/>
                </a:cubicBezTo>
                <a:cubicBezTo>
                  <a:pt x="780100" y="410355"/>
                  <a:pt x="377280" y="277647"/>
                  <a:pt x="74043" y="59908"/>
                </a:cubicBezTo>
                <a:lnTo>
                  <a:pt x="0" y="0"/>
                </a:ln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8268184" y="4531643"/>
            <a:ext cx="1335454" cy="1336304"/>
          </a:xfrm>
          <a:prstGeom prst="ellipse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1109824" y="4531643"/>
            <a:ext cx="1335454" cy="1336304"/>
          </a:xfrm>
          <a:prstGeom prst="ellipse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4689004" y="4531643"/>
            <a:ext cx="1335454" cy="1336304"/>
          </a:xfrm>
          <a:prstGeom prst="ellipse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3379979" y="5750434"/>
            <a:ext cx="374325" cy="374563"/>
          </a:xfrm>
          <a:prstGeom prst="ellipse">
            <a:avLst/>
          </a:prstGeom>
          <a:solidFill>
            <a:schemeClr val="bg1"/>
          </a:soli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81" name="TextBox 180"/>
          <p:cNvSpPr txBox="1"/>
          <p:nvPr/>
        </p:nvSpPr>
        <p:spPr bwMode="gray">
          <a:xfrm>
            <a:off x="8570602" y="5049629"/>
            <a:ext cx="70929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Up Sale</a:t>
            </a:r>
          </a:p>
        </p:txBody>
      </p:sp>
      <p:sp>
        <p:nvSpPr>
          <p:cNvPr id="182" name="TextBox 181"/>
          <p:cNvSpPr txBox="1"/>
          <p:nvPr/>
        </p:nvSpPr>
        <p:spPr bwMode="gray">
          <a:xfrm>
            <a:off x="4813544" y="5076725"/>
            <a:ext cx="10780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Understand</a:t>
            </a:r>
          </a:p>
        </p:txBody>
      </p:sp>
      <p:sp>
        <p:nvSpPr>
          <p:cNvPr id="183" name="TextBox 182"/>
          <p:cNvSpPr txBox="1"/>
          <p:nvPr/>
        </p:nvSpPr>
        <p:spPr bwMode="gray">
          <a:xfrm>
            <a:off x="1406116" y="5049629"/>
            <a:ext cx="7109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Interact</a:t>
            </a:r>
          </a:p>
        </p:txBody>
      </p:sp>
      <p:sp>
        <p:nvSpPr>
          <p:cNvPr id="191" name="Freeform 54"/>
          <p:cNvSpPr>
            <a:spLocks/>
          </p:cNvSpPr>
          <p:nvPr/>
        </p:nvSpPr>
        <p:spPr bwMode="auto">
          <a:xfrm>
            <a:off x="3451805" y="5822328"/>
            <a:ext cx="230672" cy="230774"/>
          </a:xfrm>
          <a:custGeom>
            <a:avLst/>
            <a:gdLst>
              <a:gd name="T0" fmla="*/ 1719 w 1909"/>
              <a:gd name="T1" fmla="*/ 1145 h 1909"/>
              <a:gd name="T2" fmla="*/ 1145 w 1909"/>
              <a:gd name="T3" fmla="*/ 1145 h 1909"/>
              <a:gd name="T4" fmla="*/ 1145 w 1909"/>
              <a:gd name="T5" fmla="*/ 1719 h 1909"/>
              <a:gd name="T6" fmla="*/ 955 w 1909"/>
              <a:gd name="T7" fmla="*/ 1909 h 1909"/>
              <a:gd name="T8" fmla="*/ 764 w 1909"/>
              <a:gd name="T9" fmla="*/ 1719 h 1909"/>
              <a:gd name="T10" fmla="*/ 764 w 1909"/>
              <a:gd name="T11" fmla="*/ 1145 h 1909"/>
              <a:gd name="T12" fmla="*/ 190 w 1909"/>
              <a:gd name="T13" fmla="*/ 1145 h 1909"/>
              <a:gd name="T14" fmla="*/ 0 w 1909"/>
              <a:gd name="T15" fmla="*/ 955 h 1909"/>
              <a:gd name="T16" fmla="*/ 190 w 1909"/>
              <a:gd name="T17" fmla="*/ 764 h 1909"/>
              <a:gd name="T18" fmla="*/ 764 w 1909"/>
              <a:gd name="T19" fmla="*/ 764 h 1909"/>
              <a:gd name="T20" fmla="*/ 764 w 1909"/>
              <a:gd name="T21" fmla="*/ 190 h 1909"/>
              <a:gd name="T22" fmla="*/ 955 w 1909"/>
              <a:gd name="T23" fmla="*/ 0 h 1909"/>
              <a:gd name="T24" fmla="*/ 1145 w 1909"/>
              <a:gd name="T25" fmla="*/ 190 h 1909"/>
              <a:gd name="T26" fmla="*/ 1145 w 1909"/>
              <a:gd name="T27" fmla="*/ 764 h 1909"/>
              <a:gd name="T28" fmla="*/ 1719 w 1909"/>
              <a:gd name="T29" fmla="*/ 764 h 1909"/>
              <a:gd name="T30" fmla="*/ 1909 w 1909"/>
              <a:gd name="T31" fmla="*/ 955 h 1909"/>
              <a:gd name="T32" fmla="*/ 1719 w 1909"/>
              <a:gd name="T33" fmla="*/ 1145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09" h="1909">
                <a:moveTo>
                  <a:pt x="1719" y="1145"/>
                </a:moveTo>
                <a:cubicBezTo>
                  <a:pt x="1145" y="1145"/>
                  <a:pt x="1145" y="1145"/>
                  <a:pt x="1145" y="1145"/>
                </a:cubicBezTo>
                <a:cubicBezTo>
                  <a:pt x="1145" y="1719"/>
                  <a:pt x="1145" y="1719"/>
                  <a:pt x="1145" y="1719"/>
                </a:cubicBezTo>
                <a:cubicBezTo>
                  <a:pt x="1145" y="1824"/>
                  <a:pt x="1059" y="1909"/>
                  <a:pt x="955" y="1909"/>
                </a:cubicBezTo>
                <a:cubicBezTo>
                  <a:pt x="850" y="1909"/>
                  <a:pt x="764" y="1824"/>
                  <a:pt x="764" y="1719"/>
                </a:cubicBezTo>
                <a:cubicBezTo>
                  <a:pt x="764" y="1145"/>
                  <a:pt x="764" y="1145"/>
                  <a:pt x="764" y="1145"/>
                </a:cubicBezTo>
                <a:cubicBezTo>
                  <a:pt x="190" y="1145"/>
                  <a:pt x="190" y="1145"/>
                  <a:pt x="190" y="1145"/>
                </a:cubicBezTo>
                <a:cubicBezTo>
                  <a:pt x="85" y="1145"/>
                  <a:pt x="0" y="1059"/>
                  <a:pt x="0" y="955"/>
                </a:cubicBezTo>
                <a:cubicBezTo>
                  <a:pt x="0" y="850"/>
                  <a:pt x="85" y="764"/>
                  <a:pt x="190" y="764"/>
                </a:cubicBezTo>
                <a:cubicBezTo>
                  <a:pt x="764" y="764"/>
                  <a:pt x="764" y="764"/>
                  <a:pt x="764" y="764"/>
                </a:cubicBezTo>
                <a:cubicBezTo>
                  <a:pt x="764" y="190"/>
                  <a:pt x="764" y="190"/>
                  <a:pt x="764" y="190"/>
                </a:cubicBezTo>
                <a:cubicBezTo>
                  <a:pt x="764" y="85"/>
                  <a:pt x="850" y="0"/>
                  <a:pt x="955" y="0"/>
                </a:cubicBezTo>
                <a:cubicBezTo>
                  <a:pt x="1059" y="0"/>
                  <a:pt x="1145" y="85"/>
                  <a:pt x="1145" y="190"/>
                </a:cubicBezTo>
                <a:cubicBezTo>
                  <a:pt x="1145" y="764"/>
                  <a:pt x="1145" y="764"/>
                  <a:pt x="1145" y="764"/>
                </a:cubicBezTo>
                <a:cubicBezTo>
                  <a:pt x="1719" y="764"/>
                  <a:pt x="1719" y="764"/>
                  <a:pt x="1719" y="764"/>
                </a:cubicBezTo>
                <a:cubicBezTo>
                  <a:pt x="1824" y="764"/>
                  <a:pt x="1909" y="850"/>
                  <a:pt x="1909" y="955"/>
                </a:cubicBezTo>
                <a:cubicBezTo>
                  <a:pt x="1909" y="1059"/>
                  <a:pt x="1824" y="1145"/>
                  <a:pt x="1719" y="1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 bwMode="gray">
          <a:xfrm>
            <a:off x="2630536" y="5015129"/>
            <a:ext cx="14855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Interact in highly emotional moments</a:t>
            </a:r>
          </a:p>
        </p:txBody>
      </p:sp>
      <p:sp>
        <p:nvSpPr>
          <p:cNvPr id="84" name="TextBox 83"/>
          <p:cNvSpPr txBox="1"/>
          <p:nvPr/>
        </p:nvSpPr>
        <p:spPr bwMode="gray">
          <a:xfrm>
            <a:off x="5973061" y="4440332"/>
            <a:ext cx="17226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Analyze critical consumer situations and contexts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 bwMode="gray">
          <a:xfrm>
            <a:off x="6216373" y="4953024"/>
            <a:ext cx="14855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Learn about customer problems and needs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 bwMode="gray">
          <a:xfrm>
            <a:off x="9720370" y="4860691"/>
            <a:ext cx="17095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Solve problems with bespoke (insurance) products and services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89" name="Freeform 88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5903966" y="5548903"/>
            <a:ext cx="2444308" cy="410355"/>
          </a:xfrm>
          <a:custGeom>
            <a:avLst/>
            <a:gdLst>
              <a:gd name="connsiteX0" fmla="*/ 77678 w 2444308"/>
              <a:gd name="connsiteY0" fmla="*/ 0 h 594764"/>
              <a:gd name="connsiteX1" fmla="*/ 2366629 w 2444308"/>
              <a:gd name="connsiteY1" fmla="*/ 0 h 594764"/>
              <a:gd name="connsiteX2" fmla="*/ 2396490 w 2444308"/>
              <a:gd name="connsiteY2" fmla="*/ 96255 h 594764"/>
              <a:gd name="connsiteX3" fmla="*/ 2444308 w 2444308"/>
              <a:gd name="connsiteY3" fmla="*/ 184409 h 594764"/>
              <a:gd name="connsiteX4" fmla="*/ 2370266 w 2444308"/>
              <a:gd name="connsiteY4" fmla="*/ 244317 h 594764"/>
              <a:gd name="connsiteX5" fmla="*/ 1222154 w 2444308"/>
              <a:gd name="connsiteY5" fmla="*/ 594764 h 594764"/>
              <a:gd name="connsiteX6" fmla="*/ 74043 w 2444308"/>
              <a:gd name="connsiteY6" fmla="*/ 244317 h 594764"/>
              <a:gd name="connsiteX7" fmla="*/ 0 w 2444308"/>
              <a:gd name="connsiteY7" fmla="*/ 184409 h 594764"/>
              <a:gd name="connsiteX8" fmla="*/ 47818 w 2444308"/>
              <a:gd name="connsiteY8" fmla="*/ 96255 h 594764"/>
              <a:gd name="connsiteX0" fmla="*/ 2366629 w 2458069"/>
              <a:gd name="connsiteY0" fmla="*/ 0 h 594764"/>
              <a:gd name="connsiteX1" fmla="*/ 2396490 w 2458069"/>
              <a:gd name="connsiteY1" fmla="*/ 96255 h 594764"/>
              <a:gd name="connsiteX2" fmla="*/ 2444308 w 2458069"/>
              <a:gd name="connsiteY2" fmla="*/ 184409 h 594764"/>
              <a:gd name="connsiteX3" fmla="*/ 2370266 w 2458069"/>
              <a:gd name="connsiteY3" fmla="*/ 244317 h 594764"/>
              <a:gd name="connsiteX4" fmla="*/ 1222154 w 2458069"/>
              <a:gd name="connsiteY4" fmla="*/ 594764 h 594764"/>
              <a:gd name="connsiteX5" fmla="*/ 74043 w 2458069"/>
              <a:gd name="connsiteY5" fmla="*/ 244317 h 594764"/>
              <a:gd name="connsiteX6" fmla="*/ 0 w 2458069"/>
              <a:gd name="connsiteY6" fmla="*/ 184409 h 594764"/>
              <a:gd name="connsiteX7" fmla="*/ 47818 w 2458069"/>
              <a:gd name="connsiteY7" fmla="*/ 96255 h 594764"/>
              <a:gd name="connsiteX8" fmla="*/ 77678 w 2458069"/>
              <a:gd name="connsiteY8" fmla="*/ 0 h 594764"/>
              <a:gd name="connsiteX9" fmla="*/ 2458069 w 2458069"/>
              <a:gd name="connsiteY9" fmla="*/ 91440 h 594764"/>
              <a:gd name="connsiteX0" fmla="*/ 2366629 w 2458069"/>
              <a:gd name="connsiteY0" fmla="*/ 0 h 594764"/>
              <a:gd name="connsiteX1" fmla="*/ 2444308 w 2458069"/>
              <a:gd name="connsiteY1" fmla="*/ 184409 h 594764"/>
              <a:gd name="connsiteX2" fmla="*/ 2370266 w 2458069"/>
              <a:gd name="connsiteY2" fmla="*/ 244317 h 594764"/>
              <a:gd name="connsiteX3" fmla="*/ 1222154 w 2458069"/>
              <a:gd name="connsiteY3" fmla="*/ 594764 h 594764"/>
              <a:gd name="connsiteX4" fmla="*/ 74043 w 2458069"/>
              <a:gd name="connsiteY4" fmla="*/ 244317 h 594764"/>
              <a:gd name="connsiteX5" fmla="*/ 0 w 2458069"/>
              <a:gd name="connsiteY5" fmla="*/ 184409 h 594764"/>
              <a:gd name="connsiteX6" fmla="*/ 47818 w 2458069"/>
              <a:gd name="connsiteY6" fmla="*/ 96255 h 594764"/>
              <a:gd name="connsiteX7" fmla="*/ 77678 w 2458069"/>
              <a:gd name="connsiteY7" fmla="*/ 0 h 594764"/>
              <a:gd name="connsiteX8" fmla="*/ 2458069 w 2458069"/>
              <a:gd name="connsiteY8" fmla="*/ 91440 h 594764"/>
              <a:gd name="connsiteX0" fmla="*/ 2444308 w 2458069"/>
              <a:gd name="connsiteY0" fmla="*/ 184409 h 594764"/>
              <a:gd name="connsiteX1" fmla="*/ 2370266 w 2458069"/>
              <a:gd name="connsiteY1" fmla="*/ 244317 h 594764"/>
              <a:gd name="connsiteX2" fmla="*/ 1222154 w 2458069"/>
              <a:gd name="connsiteY2" fmla="*/ 594764 h 594764"/>
              <a:gd name="connsiteX3" fmla="*/ 74043 w 2458069"/>
              <a:gd name="connsiteY3" fmla="*/ 244317 h 594764"/>
              <a:gd name="connsiteX4" fmla="*/ 0 w 2458069"/>
              <a:gd name="connsiteY4" fmla="*/ 184409 h 594764"/>
              <a:gd name="connsiteX5" fmla="*/ 47818 w 2458069"/>
              <a:gd name="connsiteY5" fmla="*/ 96255 h 594764"/>
              <a:gd name="connsiteX6" fmla="*/ 77678 w 2458069"/>
              <a:gd name="connsiteY6" fmla="*/ 0 h 594764"/>
              <a:gd name="connsiteX7" fmla="*/ 2458069 w 2458069"/>
              <a:gd name="connsiteY7" fmla="*/ 91440 h 594764"/>
              <a:gd name="connsiteX0" fmla="*/ 2444308 w 2444308"/>
              <a:gd name="connsiteY0" fmla="*/ 184409 h 594764"/>
              <a:gd name="connsiteX1" fmla="*/ 2370266 w 2444308"/>
              <a:gd name="connsiteY1" fmla="*/ 244317 h 594764"/>
              <a:gd name="connsiteX2" fmla="*/ 1222154 w 2444308"/>
              <a:gd name="connsiteY2" fmla="*/ 594764 h 594764"/>
              <a:gd name="connsiteX3" fmla="*/ 74043 w 2444308"/>
              <a:gd name="connsiteY3" fmla="*/ 244317 h 594764"/>
              <a:gd name="connsiteX4" fmla="*/ 0 w 2444308"/>
              <a:gd name="connsiteY4" fmla="*/ 184409 h 594764"/>
              <a:gd name="connsiteX5" fmla="*/ 47818 w 2444308"/>
              <a:gd name="connsiteY5" fmla="*/ 96255 h 594764"/>
              <a:gd name="connsiteX6" fmla="*/ 77678 w 2444308"/>
              <a:gd name="connsiteY6" fmla="*/ 0 h 594764"/>
              <a:gd name="connsiteX0" fmla="*/ 2444308 w 2444308"/>
              <a:gd name="connsiteY0" fmla="*/ 88154 h 498509"/>
              <a:gd name="connsiteX1" fmla="*/ 2370266 w 2444308"/>
              <a:gd name="connsiteY1" fmla="*/ 148062 h 498509"/>
              <a:gd name="connsiteX2" fmla="*/ 1222154 w 2444308"/>
              <a:gd name="connsiteY2" fmla="*/ 498509 h 498509"/>
              <a:gd name="connsiteX3" fmla="*/ 74043 w 2444308"/>
              <a:gd name="connsiteY3" fmla="*/ 148062 h 498509"/>
              <a:gd name="connsiteX4" fmla="*/ 0 w 2444308"/>
              <a:gd name="connsiteY4" fmla="*/ 88154 h 498509"/>
              <a:gd name="connsiteX5" fmla="*/ 47818 w 2444308"/>
              <a:gd name="connsiteY5" fmla="*/ 0 h 498509"/>
              <a:gd name="connsiteX0" fmla="*/ 2444308 w 2444308"/>
              <a:gd name="connsiteY0" fmla="*/ 0 h 410355"/>
              <a:gd name="connsiteX1" fmla="*/ 2370266 w 2444308"/>
              <a:gd name="connsiteY1" fmla="*/ 59908 h 410355"/>
              <a:gd name="connsiteX2" fmla="*/ 1222154 w 2444308"/>
              <a:gd name="connsiteY2" fmla="*/ 410355 h 410355"/>
              <a:gd name="connsiteX3" fmla="*/ 74043 w 2444308"/>
              <a:gd name="connsiteY3" fmla="*/ 59908 h 410355"/>
              <a:gd name="connsiteX4" fmla="*/ 0 w 2444308"/>
              <a:gd name="connsiteY4" fmla="*/ 0 h 41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4308" h="410355">
                <a:moveTo>
                  <a:pt x="2444308" y="0"/>
                </a:moveTo>
                <a:lnTo>
                  <a:pt x="2370266" y="59908"/>
                </a:lnTo>
                <a:cubicBezTo>
                  <a:pt x="2067029" y="277647"/>
                  <a:pt x="1664209" y="410355"/>
                  <a:pt x="1222154" y="410355"/>
                </a:cubicBezTo>
                <a:cubicBezTo>
                  <a:pt x="780100" y="410355"/>
                  <a:pt x="377280" y="277647"/>
                  <a:pt x="74043" y="59908"/>
                </a:cubicBezTo>
                <a:lnTo>
                  <a:pt x="0" y="0"/>
                </a:ln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6938957" y="5751313"/>
            <a:ext cx="374325" cy="374563"/>
          </a:xfrm>
          <a:prstGeom prst="ellipse">
            <a:avLst/>
          </a:prstGeom>
          <a:solidFill>
            <a:schemeClr val="bg1"/>
          </a:soli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02" name="Freeform 54"/>
          <p:cNvSpPr>
            <a:spLocks/>
          </p:cNvSpPr>
          <p:nvPr/>
        </p:nvSpPr>
        <p:spPr bwMode="auto">
          <a:xfrm>
            <a:off x="7010783" y="5823207"/>
            <a:ext cx="230672" cy="230774"/>
          </a:xfrm>
          <a:custGeom>
            <a:avLst/>
            <a:gdLst>
              <a:gd name="T0" fmla="*/ 1719 w 1909"/>
              <a:gd name="T1" fmla="*/ 1145 h 1909"/>
              <a:gd name="T2" fmla="*/ 1145 w 1909"/>
              <a:gd name="T3" fmla="*/ 1145 h 1909"/>
              <a:gd name="T4" fmla="*/ 1145 w 1909"/>
              <a:gd name="T5" fmla="*/ 1719 h 1909"/>
              <a:gd name="T6" fmla="*/ 955 w 1909"/>
              <a:gd name="T7" fmla="*/ 1909 h 1909"/>
              <a:gd name="T8" fmla="*/ 764 w 1909"/>
              <a:gd name="T9" fmla="*/ 1719 h 1909"/>
              <a:gd name="T10" fmla="*/ 764 w 1909"/>
              <a:gd name="T11" fmla="*/ 1145 h 1909"/>
              <a:gd name="T12" fmla="*/ 190 w 1909"/>
              <a:gd name="T13" fmla="*/ 1145 h 1909"/>
              <a:gd name="T14" fmla="*/ 0 w 1909"/>
              <a:gd name="T15" fmla="*/ 955 h 1909"/>
              <a:gd name="T16" fmla="*/ 190 w 1909"/>
              <a:gd name="T17" fmla="*/ 764 h 1909"/>
              <a:gd name="T18" fmla="*/ 764 w 1909"/>
              <a:gd name="T19" fmla="*/ 764 h 1909"/>
              <a:gd name="T20" fmla="*/ 764 w 1909"/>
              <a:gd name="T21" fmla="*/ 190 h 1909"/>
              <a:gd name="T22" fmla="*/ 955 w 1909"/>
              <a:gd name="T23" fmla="*/ 0 h 1909"/>
              <a:gd name="T24" fmla="*/ 1145 w 1909"/>
              <a:gd name="T25" fmla="*/ 190 h 1909"/>
              <a:gd name="T26" fmla="*/ 1145 w 1909"/>
              <a:gd name="T27" fmla="*/ 764 h 1909"/>
              <a:gd name="T28" fmla="*/ 1719 w 1909"/>
              <a:gd name="T29" fmla="*/ 764 h 1909"/>
              <a:gd name="T30" fmla="*/ 1909 w 1909"/>
              <a:gd name="T31" fmla="*/ 955 h 1909"/>
              <a:gd name="T32" fmla="*/ 1719 w 1909"/>
              <a:gd name="T33" fmla="*/ 1145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09" h="1909">
                <a:moveTo>
                  <a:pt x="1719" y="1145"/>
                </a:moveTo>
                <a:cubicBezTo>
                  <a:pt x="1145" y="1145"/>
                  <a:pt x="1145" y="1145"/>
                  <a:pt x="1145" y="1145"/>
                </a:cubicBezTo>
                <a:cubicBezTo>
                  <a:pt x="1145" y="1719"/>
                  <a:pt x="1145" y="1719"/>
                  <a:pt x="1145" y="1719"/>
                </a:cubicBezTo>
                <a:cubicBezTo>
                  <a:pt x="1145" y="1824"/>
                  <a:pt x="1059" y="1909"/>
                  <a:pt x="955" y="1909"/>
                </a:cubicBezTo>
                <a:cubicBezTo>
                  <a:pt x="850" y="1909"/>
                  <a:pt x="764" y="1824"/>
                  <a:pt x="764" y="1719"/>
                </a:cubicBezTo>
                <a:cubicBezTo>
                  <a:pt x="764" y="1145"/>
                  <a:pt x="764" y="1145"/>
                  <a:pt x="764" y="1145"/>
                </a:cubicBezTo>
                <a:cubicBezTo>
                  <a:pt x="190" y="1145"/>
                  <a:pt x="190" y="1145"/>
                  <a:pt x="190" y="1145"/>
                </a:cubicBezTo>
                <a:cubicBezTo>
                  <a:pt x="85" y="1145"/>
                  <a:pt x="0" y="1059"/>
                  <a:pt x="0" y="955"/>
                </a:cubicBezTo>
                <a:cubicBezTo>
                  <a:pt x="0" y="850"/>
                  <a:pt x="85" y="764"/>
                  <a:pt x="190" y="764"/>
                </a:cubicBezTo>
                <a:cubicBezTo>
                  <a:pt x="764" y="764"/>
                  <a:pt x="764" y="764"/>
                  <a:pt x="764" y="764"/>
                </a:cubicBezTo>
                <a:cubicBezTo>
                  <a:pt x="764" y="190"/>
                  <a:pt x="764" y="190"/>
                  <a:pt x="764" y="190"/>
                </a:cubicBezTo>
                <a:cubicBezTo>
                  <a:pt x="764" y="85"/>
                  <a:pt x="850" y="0"/>
                  <a:pt x="955" y="0"/>
                </a:cubicBezTo>
                <a:cubicBezTo>
                  <a:pt x="1059" y="0"/>
                  <a:pt x="1145" y="85"/>
                  <a:pt x="1145" y="190"/>
                </a:cubicBezTo>
                <a:cubicBezTo>
                  <a:pt x="1145" y="764"/>
                  <a:pt x="1145" y="764"/>
                  <a:pt x="1145" y="764"/>
                </a:cubicBezTo>
                <a:cubicBezTo>
                  <a:pt x="1719" y="764"/>
                  <a:pt x="1719" y="764"/>
                  <a:pt x="1719" y="764"/>
                </a:cubicBezTo>
                <a:cubicBezTo>
                  <a:pt x="1824" y="764"/>
                  <a:pt x="1909" y="850"/>
                  <a:pt x="1909" y="955"/>
                </a:cubicBezTo>
                <a:cubicBezTo>
                  <a:pt x="1909" y="1059"/>
                  <a:pt x="1824" y="1145"/>
                  <a:pt x="1719" y="1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08" name="Rectangle: Rounded Corners 41">
            <a:extLst>
              <a:ext uri="{FF2B5EF4-FFF2-40B4-BE49-F238E27FC236}">
                <a16:creationId xmlns="" xmlns:a16="http://schemas.microsoft.com/office/drawing/2014/main" xmlns:lc="http://schemas.openxmlformats.org/drawingml/2006/lockedCanvas" id="{E1737D0D-795A-4198-B311-AF0F275CB4AF}"/>
              </a:ext>
            </a:extLst>
          </p:cNvPr>
          <p:cNvSpPr/>
          <p:nvPr/>
        </p:nvSpPr>
        <p:spPr>
          <a:xfrm>
            <a:off x="459627" y="1620172"/>
            <a:ext cx="11341101" cy="2173903"/>
          </a:xfrm>
          <a:prstGeom prst="round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000" b="1" dirty="0">
              <a:solidFill>
                <a:schemeClr val="tx2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09" name="Freeform: Shape 77">
            <a:extLst>
              <a:ext uri="{FF2B5EF4-FFF2-40B4-BE49-F238E27FC236}">
                <a16:creationId xmlns="" xmlns:a16="http://schemas.microsoft.com/office/drawing/2014/main" xmlns:lc="http://schemas.openxmlformats.org/drawingml/2006/lockedCanvas" id="{092957D4-D774-4FB8-96C0-AEA901BF7F55}"/>
              </a:ext>
            </a:extLst>
          </p:cNvPr>
          <p:cNvSpPr/>
          <p:nvPr/>
        </p:nvSpPr>
        <p:spPr>
          <a:xfrm>
            <a:off x="459628" y="1620172"/>
            <a:ext cx="458704" cy="2173903"/>
          </a:xfrm>
          <a:custGeom>
            <a:avLst/>
            <a:gdLst>
              <a:gd name="connsiteX0" fmla="*/ 181652 w 229972"/>
              <a:gd name="connsiteY0" fmla="*/ 0 h 1089891"/>
              <a:gd name="connsiteX1" fmla="*/ 229972 w 229972"/>
              <a:gd name="connsiteY1" fmla="*/ 0 h 1089891"/>
              <a:gd name="connsiteX2" fmla="*/ 229972 w 229972"/>
              <a:gd name="connsiteY2" fmla="*/ 1089891 h 1089891"/>
              <a:gd name="connsiteX3" fmla="*/ 181652 w 229972"/>
              <a:gd name="connsiteY3" fmla="*/ 1089891 h 1089891"/>
              <a:gd name="connsiteX4" fmla="*/ 0 w 229972"/>
              <a:gd name="connsiteY4" fmla="*/ 908239 h 1089891"/>
              <a:gd name="connsiteX5" fmla="*/ 0 w 229972"/>
              <a:gd name="connsiteY5" fmla="*/ 181652 h 1089891"/>
              <a:gd name="connsiteX6" fmla="*/ 181652 w 229972"/>
              <a:gd name="connsiteY6" fmla="*/ 0 h 1089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9972" h="1089891">
                <a:moveTo>
                  <a:pt x="181652" y="0"/>
                </a:moveTo>
                <a:lnTo>
                  <a:pt x="229972" y="0"/>
                </a:lnTo>
                <a:lnTo>
                  <a:pt x="229972" y="1089891"/>
                </a:lnTo>
                <a:lnTo>
                  <a:pt x="181652" y="1089891"/>
                </a:lnTo>
                <a:cubicBezTo>
                  <a:pt x="81328" y="1089891"/>
                  <a:pt x="0" y="1008563"/>
                  <a:pt x="0" y="908239"/>
                </a:cubicBezTo>
                <a:lnTo>
                  <a:pt x="0" y="181652"/>
                </a:lnTo>
                <a:cubicBezTo>
                  <a:pt x="0" y="81328"/>
                  <a:pt x="81328" y="0"/>
                  <a:pt x="181652" y="0"/>
                </a:cubicBezTo>
                <a:close/>
              </a:path>
            </a:pathLst>
          </a:custGeom>
          <a:solidFill>
            <a:srgbClr val="1755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b="1" dirty="0" smtClean="0">
                <a:latin typeface="SwissReSans Light" panose="020B0504020202020204" pitchFamily="34" charset="0"/>
                <a:sym typeface="SwissReSans Light" panose="020B0504020202020204" pitchFamily="34" charset="0"/>
              </a:rPr>
              <a:t> Strategic Partners</a:t>
            </a:r>
            <a:endParaRPr lang="en-GB" sz="1600" b="1" dirty="0"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 bwMode="gray">
          <a:xfrm>
            <a:off x="2465429" y="2062525"/>
            <a:ext cx="14985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Partner with cross industry players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1" name="Freeform 110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2338754" y="3151778"/>
            <a:ext cx="2444308" cy="410355"/>
          </a:xfrm>
          <a:custGeom>
            <a:avLst/>
            <a:gdLst>
              <a:gd name="connsiteX0" fmla="*/ 77678 w 2444308"/>
              <a:gd name="connsiteY0" fmla="*/ 0 h 594764"/>
              <a:gd name="connsiteX1" fmla="*/ 2366629 w 2444308"/>
              <a:gd name="connsiteY1" fmla="*/ 0 h 594764"/>
              <a:gd name="connsiteX2" fmla="*/ 2396490 w 2444308"/>
              <a:gd name="connsiteY2" fmla="*/ 96255 h 594764"/>
              <a:gd name="connsiteX3" fmla="*/ 2444308 w 2444308"/>
              <a:gd name="connsiteY3" fmla="*/ 184409 h 594764"/>
              <a:gd name="connsiteX4" fmla="*/ 2370266 w 2444308"/>
              <a:gd name="connsiteY4" fmla="*/ 244317 h 594764"/>
              <a:gd name="connsiteX5" fmla="*/ 1222154 w 2444308"/>
              <a:gd name="connsiteY5" fmla="*/ 594764 h 594764"/>
              <a:gd name="connsiteX6" fmla="*/ 74043 w 2444308"/>
              <a:gd name="connsiteY6" fmla="*/ 244317 h 594764"/>
              <a:gd name="connsiteX7" fmla="*/ 0 w 2444308"/>
              <a:gd name="connsiteY7" fmla="*/ 184409 h 594764"/>
              <a:gd name="connsiteX8" fmla="*/ 47818 w 2444308"/>
              <a:gd name="connsiteY8" fmla="*/ 96255 h 594764"/>
              <a:gd name="connsiteX0" fmla="*/ 2366629 w 2458069"/>
              <a:gd name="connsiteY0" fmla="*/ 0 h 594764"/>
              <a:gd name="connsiteX1" fmla="*/ 2396490 w 2458069"/>
              <a:gd name="connsiteY1" fmla="*/ 96255 h 594764"/>
              <a:gd name="connsiteX2" fmla="*/ 2444308 w 2458069"/>
              <a:gd name="connsiteY2" fmla="*/ 184409 h 594764"/>
              <a:gd name="connsiteX3" fmla="*/ 2370266 w 2458069"/>
              <a:gd name="connsiteY3" fmla="*/ 244317 h 594764"/>
              <a:gd name="connsiteX4" fmla="*/ 1222154 w 2458069"/>
              <a:gd name="connsiteY4" fmla="*/ 594764 h 594764"/>
              <a:gd name="connsiteX5" fmla="*/ 74043 w 2458069"/>
              <a:gd name="connsiteY5" fmla="*/ 244317 h 594764"/>
              <a:gd name="connsiteX6" fmla="*/ 0 w 2458069"/>
              <a:gd name="connsiteY6" fmla="*/ 184409 h 594764"/>
              <a:gd name="connsiteX7" fmla="*/ 47818 w 2458069"/>
              <a:gd name="connsiteY7" fmla="*/ 96255 h 594764"/>
              <a:gd name="connsiteX8" fmla="*/ 77678 w 2458069"/>
              <a:gd name="connsiteY8" fmla="*/ 0 h 594764"/>
              <a:gd name="connsiteX9" fmla="*/ 2458069 w 2458069"/>
              <a:gd name="connsiteY9" fmla="*/ 91440 h 594764"/>
              <a:gd name="connsiteX0" fmla="*/ 2366629 w 2458069"/>
              <a:gd name="connsiteY0" fmla="*/ 0 h 594764"/>
              <a:gd name="connsiteX1" fmla="*/ 2444308 w 2458069"/>
              <a:gd name="connsiteY1" fmla="*/ 184409 h 594764"/>
              <a:gd name="connsiteX2" fmla="*/ 2370266 w 2458069"/>
              <a:gd name="connsiteY2" fmla="*/ 244317 h 594764"/>
              <a:gd name="connsiteX3" fmla="*/ 1222154 w 2458069"/>
              <a:gd name="connsiteY3" fmla="*/ 594764 h 594764"/>
              <a:gd name="connsiteX4" fmla="*/ 74043 w 2458069"/>
              <a:gd name="connsiteY4" fmla="*/ 244317 h 594764"/>
              <a:gd name="connsiteX5" fmla="*/ 0 w 2458069"/>
              <a:gd name="connsiteY5" fmla="*/ 184409 h 594764"/>
              <a:gd name="connsiteX6" fmla="*/ 47818 w 2458069"/>
              <a:gd name="connsiteY6" fmla="*/ 96255 h 594764"/>
              <a:gd name="connsiteX7" fmla="*/ 77678 w 2458069"/>
              <a:gd name="connsiteY7" fmla="*/ 0 h 594764"/>
              <a:gd name="connsiteX8" fmla="*/ 2458069 w 2458069"/>
              <a:gd name="connsiteY8" fmla="*/ 91440 h 594764"/>
              <a:gd name="connsiteX0" fmla="*/ 2444308 w 2458069"/>
              <a:gd name="connsiteY0" fmla="*/ 184409 h 594764"/>
              <a:gd name="connsiteX1" fmla="*/ 2370266 w 2458069"/>
              <a:gd name="connsiteY1" fmla="*/ 244317 h 594764"/>
              <a:gd name="connsiteX2" fmla="*/ 1222154 w 2458069"/>
              <a:gd name="connsiteY2" fmla="*/ 594764 h 594764"/>
              <a:gd name="connsiteX3" fmla="*/ 74043 w 2458069"/>
              <a:gd name="connsiteY3" fmla="*/ 244317 h 594764"/>
              <a:gd name="connsiteX4" fmla="*/ 0 w 2458069"/>
              <a:gd name="connsiteY4" fmla="*/ 184409 h 594764"/>
              <a:gd name="connsiteX5" fmla="*/ 47818 w 2458069"/>
              <a:gd name="connsiteY5" fmla="*/ 96255 h 594764"/>
              <a:gd name="connsiteX6" fmla="*/ 77678 w 2458069"/>
              <a:gd name="connsiteY6" fmla="*/ 0 h 594764"/>
              <a:gd name="connsiteX7" fmla="*/ 2458069 w 2458069"/>
              <a:gd name="connsiteY7" fmla="*/ 91440 h 594764"/>
              <a:gd name="connsiteX0" fmla="*/ 2444308 w 2444308"/>
              <a:gd name="connsiteY0" fmla="*/ 184409 h 594764"/>
              <a:gd name="connsiteX1" fmla="*/ 2370266 w 2444308"/>
              <a:gd name="connsiteY1" fmla="*/ 244317 h 594764"/>
              <a:gd name="connsiteX2" fmla="*/ 1222154 w 2444308"/>
              <a:gd name="connsiteY2" fmla="*/ 594764 h 594764"/>
              <a:gd name="connsiteX3" fmla="*/ 74043 w 2444308"/>
              <a:gd name="connsiteY3" fmla="*/ 244317 h 594764"/>
              <a:gd name="connsiteX4" fmla="*/ 0 w 2444308"/>
              <a:gd name="connsiteY4" fmla="*/ 184409 h 594764"/>
              <a:gd name="connsiteX5" fmla="*/ 47818 w 2444308"/>
              <a:gd name="connsiteY5" fmla="*/ 96255 h 594764"/>
              <a:gd name="connsiteX6" fmla="*/ 77678 w 2444308"/>
              <a:gd name="connsiteY6" fmla="*/ 0 h 594764"/>
              <a:gd name="connsiteX0" fmla="*/ 2444308 w 2444308"/>
              <a:gd name="connsiteY0" fmla="*/ 88154 h 498509"/>
              <a:gd name="connsiteX1" fmla="*/ 2370266 w 2444308"/>
              <a:gd name="connsiteY1" fmla="*/ 148062 h 498509"/>
              <a:gd name="connsiteX2" fmla="*/ 1222154 w 2444308"/>
              <a:gd name="connsiteY2" fmla="*/ 498509 h 498509"/>
              <a:gd name="connsiteX3" fmla="*/ 74043 w 2444308"/>
              <a:gd name="connsiteY3" fmla="*/ 148062 h 498509"/>
              <a:gd name="connsiteX4" fmla="*/ 0 w 2444308"/>
              <a:gd name="connsiteY4" fmla="*/ 88154 h 498509"/>
              <a:gd name="connsiteX5" fmla="*/ 47818 w 2444308"/>
              <a:gd name="connsiteY5" fmla="*/ 0 h 498509"/>
              <a:gd name="connsiteX0" fmla="*/ 2444308 w 2444308"/>
              <a:gd name="connsiteY0" fmla="*/ 0 h 410355"/>
              <a:gd name="connsiteX1" fmla="*/ 2370266 w 2444308"/>
              <a:gd name="connsiteY1" fmla="*/ 59908 h 410355"/>
              <a:gd name="connsiteX2" fmla="*/ 1222154 w 2444308"/>
              <a:gd name="connsiteY2" fmla="*/ 410355 h 410355"/>
              <a:gd name="connsiteX3" fmla="*/ 74043 w 2444308"/>
              <a:gd name="connsiteY3" fmla="*/ 59908 h 410355"/>
              <a:gd name="connsiteX4" fmla="*/ 0 w 2444308"/>
              <a:gd name="connsiteY4" fmla="*/ 0 h 41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4308" h="410355">
                <a:moveTo>
                  <a:pt x="2444308" y="0"/>
                </a:moveTo>
                <a:lnTo>
                  <a:pt x="2370266" y="59908"/>
                </a:lnTo>
                <a:cubicBezTo>
                  <a:pt x="2067029" y="277647"/>
                  <a:pt x="1664209" y="410355"/>
                  <a:pt x="1222154" y="410355"/>
                </a:cubicBezTo>
                <a:cubicBezTo>
                  <a:pt x="780100" y="410355"/>
                  <a:pt x="377280" y="277647"/>
                  <a:pt x="74043" y="59908"/>
                </a:cubicBezTo>
                <a:lnTo>
                  <a:pt x="0" y="0"/>
                </a:ln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8261950" y="2135397"/>
            <a:ext cx="1335454" cy="1336304"/>
          </a:xfrm>
          <a:prstGeom prst="ellipse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1103590" y="2135397"/>
            <a:ext cx="1335454" cy="1336304"/>
          </a:xfrm>
          <a:prstGeom prst="ellipse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4682770" y="2135397"/>
            <a:ext cx="1335454" cy="1336304"/>
          </a:xfrm>
          <a:prstGeom prst="ellipse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3373745" y="3354188"/>
            <a:ext cx="374325" cy="374563"/>
          </a:xfrm>
          <a:prstGeom prst="ellipse">
            <a:avLst/>
          </a:prstGeom>
          <a:solidFill>
            <a:schemeClr val="bg1"/>
          </a:soli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 bwMode="gray">
          <a:xfrm>
            <a:off x="8685041" y="2670890"/>
            <a:ext cx="50174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Scale</a:t>
            </a:r>
          </a:p>
        </p:txBody>
      </p:sp>
      <p:sp>
        <p:nvSpPr>
          <p:cNvPr id="117" name="TextBox 116"/>
          <p:cNvSpPr txBox="1"/>
          <p:nvPr/>
        </p:nvSpPr>
        <p:spPr bwMode="gray">
          <a:xfrm>
            <a:off x="4869196" y="2670891"/>
            <a:ext cx="10347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Co-develop</a:t>
            </a:r>
          </a:p>
        </p:txBody>
      </p:sp>
      <p:sp>
        <p:nvSpPr>
          <p:cNvPr id="118" name="TextBox 117"/>
          <p:cNvSpPr txBox="1"/>
          <p:nvPr/>
        </p:nvSpPr>
        <p:spPr bwMode="gray">
          <a:xfrm>
            <a:off x="1337732" y="2670889"/>
            <a:ext cx="8476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Originate</a:t>
            </a:r>
          </a:p>
        </p:txBody>
      </p:sp>
      <p:sp>
        <p:nvSpPr>
          <p:cNvPr id="119" name="Freeform 54"/>
          <p:cNvSpPr>
            <a:spLocks/>
          </p:cNvSpPr>
          <p:nvPr/>
        </p:nvSpPr>
        <p:spPr bwMode="auto">
          <a:xfrm>
            <a:off x="3445571" y="3426082"/>
            <a:ext cx="230672" cy="230774"/>
          </a:xfrm>
          <a:custGeom>
            <a:avLst/>
            <a:gdLst>
              <a:gd name="T0" fmla="*/ 1719 w 1909"/>
              <a:gd name="T1" fmla="*/ 1145 h 1909"/>
              <a:gd name="T2" fmla="*/ 1145 w 1909"/>
              <a:gd name="T3" fmla="*/ 1145 h 1909"/>
              <a:gd name="T4" fmla="*/ 1145 w 1909"/>
              <a:gd name="T5" fmla="*/ 1719 h 1909"/>
              <a:gd name="T6" fmla="*/ 955 w 1909"/>
              <a:gd name="T7" fmla="*/ 1909 h 1909"/>
              <a:gd name="T8" fmla="*/ 764 w 1909"/>
              <a:gd name="T9" fmla="*/ 1719 h 1909"/>
              <a:gd name="T10" fmla="*/ 764 w 1909"/>
              <a:gd name="T11" fmla="*/ 1145 h 1909"/>
              <a:gd name="T12" fmla="*/ 190 w 1909"/>
              <a:gd name="T13" fmla="*/ 1145 h 1909"/>
              <a:gd name="T14" fmla="*/ 0 w 1909"/>
              <a:gd name="T15" fmla="*/ 955 h 1909"/>
              <a:gd name="T16" fmla="*/ 190 w 1909"/>
              <a:gd name="T17" fmla="*/ 764 h 1909"/>
              <a:gd name="T18" fmla="*/ 764 w 1909"/>
              <a:gd name="T19" fmla="*/ 764 h 1909"/>
              <a:gd name="T20" fmla="*/ 764 w 1909"/>
              <a:gd name="T21" fmla="*/ 190 h 1909"/>
              <a:gd name="T22" fmla="*/ 955 w 1909"/>
              <a:gd name="T23" fmla="*/ 0 h 1909"/>
              <a:gd name="T24" fmla="*/ 1145 w 1909"/>
              <a:gd name="T25" fmla="*/ 190 h 1909"/>
              <a:gd name="T26" fmla="*/ 1145 w 1909"/>
              <a:gd name="T27" fmla="*/ 764 h 1909"/>
              <a:gd name="T28" fmla="*/ 1719 w 1909"/>
              <a:gd name="T29" fmla="*/ 764 h 1909"/>
              <a:gd name="T30" fmla="*/ 1909 w 1909"/>
              <a:gd name="T31" fmla="*/ 955 h 1909"/>
              <a:gd name="T32" fmla="*/ 1719 w 1909"/>
              <a:gd name="T33" fmla="*/ 1145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09" h="1909">
                <a:moveTo>
                  <a:pt x="1719" y="1145"/>
                </a:moveTo>
                <a:cubicBezTo>
                  <a:pt x="1145" y="1145"/>
                  <a:pt x="1145" y="1145"/>
                  <a:pt x="1145" y="1145"/>
                </a:cubicBezTo>
                <a:cubicBezTo>
                  <a:pt x="1145" y="1719"/>
                  <a:pt x="1145" y="1719"/>
                  <a:pt x="1145" y="1719"/>
                </a:cubicBezTo>
                <a:cubicBezTo>
                  <a:pt x="1145" y="1824"/>
                  <a:pt x="1059" y="1909"/>
                  <a:pt x="955" y="1909"/>
                </a:cubicBezTo>
                <a:cubicBezTo>
                  <a:pt x="850" y="1909"/>
                  <a:pt x="764" y="1824"/>
                  <a:pt x="764" y="1719"/>
                </a:cubicBezTo>
                <a:cubicBezTo>
                  <a:pt x="764" y="1145"/>
                  <a:pt x="764" y="1145"/>
                  <a:pt x="764" y="1145"/>
                </a:cubicBezTo>
                <a:cubicBezTo>
                  <a:pt x="190" y="1145"/>
                  <a:pt x="190" y="1145"/>
                  <a:pt x="190" y="1145"/>
                </a:cubicBezTo>
                <a:cubicBezTo>
                  <a:pt x="85" y="1145"/>
                  <a:pt x="0" y="1059"/>
                  <a:pt x="0" y="955"/>
                </a:cubicBezTo>
                <a:cubicBezTo>
                  <a:pt x="0" y="850"/>
                  <a:pt x="85" y="764"/>
                  <a:pt x="190" y="764"/>
                </a:cubicBezTo>
                <a:cubicBezTo>
                  <a:pt x="764" y="764"/>
                  <a:pt x="764" y="764"/>
                  <a:pt x="764" y="764"/>
                </a:cubicBezTo>
                <a:cubicBezTo>
                  <a:pt x="764" y="190"/>
                  <a:pt x="764" y="190"/>
                  <a:pt x="764" y="190"/>
                </a:cubicBezTo>
                <a:cubicBezTo>
                  <a:pt x="764" y="85"/>
                  <a:pt x="850" y="0"/>
                  <a:pt x="955" y="0"/>
                </a:cubicBezTo>
                <a:cubicBezTo>
                  <a:pt x="1059" y="0"/>
                  <a:pt x="1145" y="85"/>
                  <a:pt x="1145" y="190"/>
                </a:cubicBezTo>
                <a:cubicBezTo>
                  <a:pt x="1145" y="764"/>
                  <a:pt x="1145" y="764"/>
                  <a:pt x="1145" y="764"/>
                </a:cubicBezTo>
                <a:cubicBezTo>
                  <a:pt x="1719" y="764"/>
                  <a:pt x="1719" y="764"/>
                  <a:pt x="1719" y="764"/>
                </a:cubicBezTo>
                <a:cubicBezTo>
                  <a:pt x="1824" y="764"/>
                  <a:pt x="1909" y="850"/>
                  <a:pt x="1909" y="955"/>
                </a:cubicBezTo>
                <a:cubicBezTo>
                  <a:pt x="1909" y="1059"/>
                  <a:pt x="1824" y="1145"/>
                  <a:pt x="1719" y="1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 bwMode="gray">
          <a:xfrm>
            <a:off x="2624302" y="2618883"/>
            <a:ext cx="1732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Build ecosystem of complementing partners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 bwMode="gray">
          <a:xfrm>
            <a:off x="6001363" y="2011188"/>
            <a:ext cx="17226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Co-create new value propositions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 bwMode="gray">
          <a:xfrm>
            <a:off x="6210139" y="2556778"/>
            <a:ext cx="14855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Clear value add to consumer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4" name="Freeform 123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5897732" y="3152657"/>
            <a:ext cx="2444308" cy="410355"/>
          </a:xfrm>
          <a:custGeom>
            <a:avLst/>
            <a:gdLst>
              <a:gd name="connsiteX0" fmla="*/ 77678 w 2444308"/>
              <a:gd name="connsiteY0" fmla="*/ 0 h 594764"/>
              <a:gd name="connsiteX1" fmla="*/ 2366629 w 2444308"/>
              <a:gd name="connsiteY1" fmla="*/ 0 h 594764"/>
              <a:gd name="connsiteX2" fmla="*/ 2396490 w 2444308"/>
              <a:gd name="connsiteY2" fmla="*/ 96255 h 594764"/>
              <a:gd name="connsiteX3" fmla="*/ 2444308 w 2444308"/>
              <a:gd name="connsiteY3" fmla="*/ 184409 h 594764"/>
              <a:gd name="connsiteX4" fmla="*/ 2370266 w 2444308"/>
              <a:gd name="connsiteY4" fmla="*/ 244317 h 594764"/>
              <a:gd name="connsiteX5" fmla="*/ 1222154 w 2444308"/>
              <a:gd name="connsiteY5" fmla="*/ 594764 h 594764"/>
              <a:gd name="connsiteX6" fmla="*/ 74043 w 2444308"/>
              <a:gd name="connsiteY6" fmla="*/ 244317 h 594764"/>
              <a:gd name="connsiteX7" fmla="*/ 0 w 2444308"/>
              <a:gd name="connsiteY7" fmla="*/ 184409 h 594764"/>
              <a:gd name="connsiteX8" fmla="*/ 47818 w 2444308"/>
              <a:gd name="connsiteY8" fmla="*/ 96255 h 594764"/>
              <a:gd name="connsiteX0" fmla="*/ 2366629 w 2458069"/>
              <a:gd name="connsiteY0" fmla="*/ 0 h 594764"/>
              <a:gd name="connsiteX1" fmla="*/ 2396490 w 2458069"/>
              <a:gd name="connsiteY1" fmla="*/ 96255 h 594764"/>
              <a:gd name="connsiteX2" fmla="*/ 2444308 w 2458069"/>
              <a:gd name="connsiteY2" fmla="*/ 184409 h 594764"/>
              <a:gd name="connsiteX3" fmla="*/ 2370266 w 2458069"/>
              <a:gd name="connsiteY3" fmla="*/ 244317 h 594764"/>
              <a:gd name="connsiteX4" fmla="*/ 1222154 w 2458069"/>
              <a:gd name="connsiteY4" fmla="*/ 594764 h 594764"/>
              <a:gd name="connsiteX5" fmla="*/ 74043 w 2458069"/>
              <a:gd name="connsiteY5" fmla="*/ 244317 h 594764"/>
              <a:gd name="connsiteX6" fmla="*/ 0 w 2458069"/>
              <a:gd name="connsiteY6" fmla="*/ 184409 h 594764"/>
              <a:gd name="connsiteX7" fmla="*/ 47818 w 2458069"/>
              <a:gd name="connsiteY7" fmla="*/ 96255 h 594764"/>
              <a:gd name="connsiteX8" fmla="*/ 77678 w 2458069"/>
              <a:gd name="connsiteY8" fmla="*/ 0 h 594764"/>
              <a:gd name="connsiteX9" fmla="*/ 2458069 w 2458069"/>
              <a:gd name="connsiteY9" fmla="*/ 91440 h 594764"/>
              <a:gd name="connsiteX0" fmla="*/ 2366629 w 2458069"/>
              <a:gd name="connsiteY0" fmla="*/ 0 h 594764"/>
              <a:gd name="connsiteX1" fmla="*/ 2444308 w 2458069"/>
              <a:gd name="connsiteY1" fmla="*/ 184409 h 594764"/>
              <a:gd name="connsiteX2" fmla="*/ 2370266 w 2458069"/>
              <a:gd name="connsiteY2" fmla="*/ 244317 h 594764"/>
              <a:gd name="connsiteX3" fmla="*/ 1222154 w 2458069"/>
              <a:gd name="connsiteY3" fmla="*/ 594764 h 594764"/>
              <a:gd name="connsiteX4" fmla="*/ 74043 w 2458069"/>
              <a:gd name="connsiteY4" fmla="*/ 244317 h 594764"/>
              <a:gd name="connsiteX5" fmla="*/ 0 w 2458069"/>
              <a:gd name="connsiteY5" fmla="*/ 184409 h 594764"/>
              <a:gd name="connsiteX6" fmla="*/ 47818 w 2458069"/>
              <a:gd name="connsiteY6" fmla="*/ 96255 h 594764"/>
              <a:gd name="connsiteX7" fmla="*/ 77678 w 2458069"/>
              <a:gd name="connsiteY7" fmla="*/ 0 h 594764"/>
              <a:gd name="connsiteX8" fmla="*/ 2458069 w 2458069"/>
              <a:gd name="connsiteY8" fmla="*/ 91440 h 594764"/>
              <a:gd name="connsiteX0" fmla="*/ 2444308 w 2458069"/>
              <a:gd name="connsiteY0" fmla="*/ 184409 h 594764"/>
              <a:gd name="connsiteX1" fmla="*/ 2370266 w 2458069"/>
              <a:gd name="connsiteY1" fmla="*/ 244317 h 594764"/>
              <a:gd name="connsiteX2" fmla="*/ 1222154 w 2458069"/>
              <a:gd name="connsiteY2" fmla="*/ 594764 h 594764"/>
              <a:gd name="connsiteX3" fmla="*/ 74043 w 2458069"/>
              <a:gd name="connsiteY3" fmla="*/ 244317 h 594764"/>
              <a:gd name="connsiteX4" fmla="*/ 0 w 2458069"/>
              <a:gd name="connsiteY4" fmla="*/ 184409 h 594764"/>
              <a:gd name="connsiteX5" fmla="*/ 47818 w 2458069"/>
              <a:gd name="connsiteY5" fmla="*/ 96255 h 594764"/>
              <a:gd name="connsiteX6" fmla="*/ 77678 w 2458069"/>
              <a:gd name="connsiteY6" fmla="*/ 0 h 594764"/>
              <a:gd name="connsiteX7" fmla="*/ 2458069 w 2458069"/>
              <a:gd name="connsiteY7" fmla="*/ 91440 h 594764"/>
              <a:gd name="connsiteX0" fmla="*/ 2444308 w 2444308"/>
              <a:gd name="connsiteY0" fmla="*/ 184409 h 594764"/>
              <a:gd name="connsiteX1" fmla="*/ 2370266 w 2444308"/>
              <a:gd name="connsiteY1" fmla="*/ 244317 h 594764"/>
              <a:gd name="connsiteX2" fmla="*/ 1222154 w 2444308"/>
              <a:gd name="connsiteY2" fmla="*/ 594764 h 594764"/>
              <a:gd name="connsiteX3" fmla="*/ 74043 w 2444308"/>
              <a:gd name="connsiteY3" fmla="*/ 244317 h 594764"/>
              <a:gd name="connsiteX4" fmla="*/ 0 w 2444308"/>
              <a:gd name="connsiteY4" fmla="*/ 184409 h 594764"/>
              <a:gd name="connsiteX5" fmla="*/ 47818 w 2444308"/>
              <a:gd name="connsiteY5" fmla="*/ 96255 h 594764"/>
              <a:gd name="connsiteX6" fmla="*/ 77678 w 2444308"/>
              <a:gd name="connsiteY6" fmla="*/ 0 h 594764"/>
              <a:gd name="connsiteX0" fmla="*/ 2444308 w 2444308"/>
              <a:gd name="connsiteY0" fmla="*/ 88154 h 498509"/>
              <a:gd name="connsiteX1" fmla="*/ 2370266 w 2444308"/>
              <a:gd name="connsiteY1" fmla="*/ 148062 h 498509"/>
              <a:gd name="connsiteX2" fmla="*/ 1222154 w 2444308"/>
              <a:gd name="connsiteY2" fmla="*/ 498509 h 498509"/>
              <a:gd name="connsiteX3" fmla="*/ 74043 w 2444308"/>
              <a:gd name="connsiteY3" fmla="*/ 148062 h 498509"/>
              <a:gd name="connsiteX4" fmla="*/ 0 w 2444308"/>
              <a:gd name="connsiteY4" fmla="*/ 88154 h 498509"/>
              <a:gd name="connsiteX5" fmla="*/ 47818 w 2444308"/>
              <a:gd name="connsiteY5" fmla="*/ 0 h 498509"/>
              <a:gd name="connsiteX0" fmla="*/ 2444308 w 2444308"/>
              <a:gd name="connsiteY0" fmla="*/ 0 h 410355"/>
              <a:gd name="connsiteX1" fmla="*/ 2370266 w 2444308"/>
              <a:gd name="connsiteY1" fmla="*/ 59908 h 410355"/>
              <a:gd name="connsiteX2" fmla="*/ 1222154 w 2444308"/>
              <a:gd name="connsiteY2" fmla="*/ 410355 h 410355"/>
              <a:gd name="connsiteX3" fmla="*/ 74043 w 2444308"/>
              <a:gd name="connsiteY3" fmla="*/ 59908 h 410355"/>
              <a:gd name="connsiteX4" fmla="*/ 0 w 2444308"/>
              <a:gd name="connsiteY4" fmla="*/ 0 h 41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4308" h="410355">
                <a:moveTo>
                  <a:pt x="2444308" y="0"/>
                </a:moveTo>
                <a:lnTo>
                  <a:pt x="2370266" y="59908"/>
                </a:lnTo>
                <a:cubicBezTo>
                  <a:pt x="2067029" y="277647"/>
                  <a:pt x="1664209" y="410355"/>
                  <a:pt x="1222154" y="410355"/>
                </a:cubicBezTo>
                <a:cubicBezTo>
                  <a:pt x="780100" y="410355"/>
                  <a:pt x="377280" y="277647"/>
                  <a:pt x="74043" y="59908"/>
                </a:cubicBezTo>
                <a:lnTo>
                  <a:pt x="0" y="0"/>
                </a:ln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xmlns="" id="{293C4CD2-6646-0F41-9998-BD479BB2F53D}"/>
              </a:ext>
            </a:extLst>
          </p:cNvPr>
          <p:cNvSpPr/>
          <p:nvPr/>
        </p:nvSpPr>
        <p:spPr>
          <a:xfrm>
            <a:off x="6932723" y="3355067"/>
            <a:ext cx="374325" cy="374563"/>
          </a:xfrm>
          <a:prstGeom prst="ellipse">
            <a:avLst/>
          </a:prstGeom>
          <a:solidFill>
            <a:schemeClr val="bg1"/>
          </a:solidFill>
          <a:ln w="25400" cap="flat" cmpd="sng">
            <a:noFill/>
            <a:prstDash val="solid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GB" sz="1400" dirty="0" smtClean="0">
              <a:solidFill>
                <a:srgbClr val="FFFFFF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6" name="Freeform 54"/>
          <p:cNvSpPr>
            <a:spLocks/>
          </p:cNvSpPr>
          <p:nvPr/>
        </p:nvSpPr>
        <p:spPr bwMode="auto">
          <a:xfrm>
            <a:off x="7004549" y="3426961"/>
            <a:ext cx="230672" cy="230774"/>
          </a:xfrm>
          <a:custGeom>
            <a:avLst/>
            <a:gdLst>
              <a:gd name="T0" fmla="*/ 1719 w 1909"/>
              <a:gd name="T1" fmla="*/ 1145 h 1909"/>
              <a:gd name="T2" fmla="*/ 1145 w 1909"/>
              <a:gd name="T3" fmla="*/ 1145 h 1909"/>
              <a:gd name="T4" fmla="*/ 1145 w 1909"/>
              <a:gd name="T5" fmla="*/ 1719 h 1909"/>
              <a:gd name="T6" fmla="*/ 955 w 1909"/>
              <a:gd name="T7" fmla="*/ 1909 h 1909"/>
              <a:gd name="T8" fmla="*/ 764 w 1909"/>
              <a:gd name="T9" fmla="*/ 1719 h 1909"/>
              <a:gd name="T10" fmla="*/ 764 w 1909"/>
              <a:gd name="T11" fmla="*/ 1145 h 1909"/>
              <a:gd name="T12" fmla="*/ 190 w 1909"/>
              <a:gd name="T13" fmla="*/ 1145 h 1909"/>
              <a:gd name="T14" fmla="*/ 0 w 1909"/>
              <a:gd name="T15" fmla="*/ 955 h 1909"/>
              <a:gd name="T16" fmla="*/ 190 w 1909"/>
              <a:gd name="T17" fmla="*/ 764 h 1909"/>
              <a:gd name="T18" fmla="*/ 764 w 1909"/>
              <a:gd name="T19" fmla="*/ 764 h 1909"/>
              <a:gd name="T20" fmla="*/ 764 w 1909"/>
              <a:gd name="T21" fmla="*/ 190 h 1909"/>
              <a:gd name="T22" fmla="*/ 955 w 1909"/>
              <a:gd name="T23" fmla="*/ 0 h 1909"/>
              <a:gd name="T24" fmla="*/ 1145 w 1909"/>
              <a:gd name="T25" fmla="*/ 190 h 1909"/>
              <a:gd name="T26" fmla="*/ 1145 w 1909"/>
              <a:gd name="T27" fmla="*/ 764 h 1909"/>
              <a:gd name="T28" fmla="*/ 1719 w 1909"/>
              <a:gd name="T29" fmla="*/ 764 h 1909"/>
              <a:gd name="T30" fmla="*/ 1909 w 1909"/>
              <a:gd name="T31" fmla="*/ 955 h 1909"/>
              <a:gd name="T32" fmla="*/ 1719 w 1909"/>
              <a:gd name="T33" fmla="*/ 1145 h 1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09" h="1909">
                <a:moveTo>
                  <a:pt x="1719" y="1145"/>
                </a:moveTo>
                <a:cubicBezTo>
                  <a:pt x="1145" y="1145"/>
                  <a:pt x="1145" y="1145"/>
                  <a:pt x="1145" y="1145"/>
                </a:cubicBezTo>
                <a:cubicBezTo>
                  <a:pt x="1145" y="1719"/>
                  <a:pt x="1145" y="1719"/>
                  <a:pt x="1145" y="1719"/>
                </a:cubicBezTo>
                <a:cubicBezTo>
                  <a:pt x="1145" y="1824"/>
                  <a:pt x="1059" y="1909"/>
                  <a:pt x="955" y="1909"/>
                </a:cubicBezTo>
                <a:cubicBezTo>
                  <a:pt x="850" y="1909"/>
                  <a:pt x="764" y="1824"/>
                  <a:pt x="764" y="1719"/>
                </a:cubicBezTo>
                <a:cubicBezTo>
                  <a:pt x="764" y="1145"/>
                  <a:pt x="764" y="1145"/>
                  <a:pt x="764" y="1145"/>
                </a:cubicBezTo>
                <a:cubicBezTo>
                  <a:pt x="190" y="1145"/>
                  <a:pt x="190" y="1145"/>
                  <a:pt x="190" y="1145"/>
                </a:cubicBezTo>
                <a:cubicBezTo>
                  <a:pt x="85" y="1145"/>
                  <a:pt x="0" y="1059"/>
                  <a:pt x="0" y="955"/>
                </a:cubicBezTo>
                <a:cubicBezTo>
                  <a:pt x="0" y="850"/>
                  <a:pt x="85" y="764"/>
                  <a:pt x="190" y="764"/>
                </a:cubicBezTo>
                <a:cubicBezTo>
                  <a:pt x="764" y="764"/>
                  <a:pt x="764" y="764"/>
                  <a:pt x="764" y="764"/>
                </a:cubicBezTo>
                <a:cubicBezTo>
                  <a:pt x="764" y="190"/>
                  <a:pt x="764" y="190"/>
                  <a:pt x="764" y="190"/>
                </a:cubicBezTo>
                <a:cubicBezTo>
                  <a:pt x="764" y="85"/>
                  <a:pt x="850" y="0"/>
                  <a:pt x="955" y="0"/>
                </a:cubicBezTo>
                <a:cubicBezTo>
                  <a:pt x="1059" y="0"/>
                  <a:pt x="1145" y="85"/>
                  <a:pt x="1145" y="190"/>
                </a:cubicBezTo>
                <a:cubicBezTo>
                  <a:pt x="1145" y="764"/>
                  <a:pt x="1145" y="764"/>
                  <a:pt x="1145" y="764"/>
                </a:cubicBezTo>
                <a:cubicBezTo>
                  <a:pt x="1719" y="764"/>
                  <a:pt x="1719" y="764"/>
                  <a:pt x="1719" y="764"/>
                </a:cubicBezTo>
                <a:cubicBezTo>
                  <a:pt x="1824" y="764"/>
                  <a:pt x="1909" y="850"/>
                  <a:pt x="1909" y="955"/>
                </a:cubicBezTo>
                <a:cubicBezTo>
                  <a:pt x="1909" y="1059"/>
                  <a:pt x="1824" y="1145"/>
                  <a:pt x="1719" y="1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 bwMode="gray">
          <a:xfrm>
            <a:off x="9667505" y="2011188"/>
            <a:ext cx="170950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SwissReSans Light" panose="020B0504020202020204" pitchFamily="34" charset="0"/>
                <a:sym typeface="SwissReSans Light" panose="020B0504020202020204" pitchFamily="34" charset="0"/>
              </a:rPr>
              <a:t>Integral part of Swiss Re solutions offering</a:t>
            </a:r>
            <a:endParaRPr lang="en-US" sz="1200" dirty="0">
              <a:solidFill>
                <a:schemeClr val="bg1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9"/>
          <a:srcRect t="53848" r="49273"/>
          <a:stretch/>
        </p:blipFill>
        <p:spPr>
          <a:xfrm>
            <a:off x="10494117" y="-27384"/>
            <a:ext cx="1722563" cy="1477193"/>
          </a:xfrm>
          <a:prstGeom prst="rect">
            <a:avLst/>
          </a:prstGeom>
        </p:spPr>
      </p:pic>
      <p:grpSp>
        <p:nvGrpSpPr>
          <p:cNvPr id="48" name="Graphic 10">
            <a:extLst>
              <a:ext uri="{FF2B5EF4-FFF2-40B4-BE49-F238E27FC236}">
                <a16:creationId xmlns="" xmlns:a16="http://schemas.microsoft.com/office/drawing/2014/main" id="{7F488C1B-2ECC-4B6F-96EC-1307AA06AC9D}"/>
              </a:ext>
            </a:extLst>
          </p:cNvPr>
          <p:cNvGrpSpPr>
            <a:grpSpLocks/>
          </p:cNvGrpSpPr>
          <p:nvPr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rgbClr val="FFFFFF"/>
          </a:solidFill>
        </p:grpSpPr>
        <p:sp>
          <p:nvSpPr>
            <p:cNvPr id="49" name="Freeform: Shape 41">
              <a:extLst>
                <a:ext uri="{FF2B5EF4-FFF2-40B4-BE49-F238E27FC236}">
                  <a16:creationId xmlns="" xmlns:a16="http://schemas.microsoft.com/office/drawing/2014/main" id="{84984209-FB45-4B0B-8900-15EF4913310D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2" name="Freeform: Shape 42">
              <a:extLst>
                <a:ext uri="{FF2B5EF4-FFF2-40B4-BE49-F238E27FC236}">
                  <a16:creationId xmlns="" xmlns:a16="http://schemas.microsoft.com/office/drawing/2014/main" id="{DF5FB361-169A-478A-A6F4-FB5FC9E36991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Freeform: Shape 43">
              <a:extLst>
                <a:ext uri="{FF2B5EF4-FFF2-40B4-BE49-F238E27FC236}">
                  <a16:creationId xmlns="" xmlns:a16="http://schemas.microsoft.com/office/drawing/2014/main" id="{BE69DF83-FBC0-41E8-AEFB-062D40277FD9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4" name="Freeform: Shape 44">
              <a:extLst>
                <a:ext uri="{FF2B5EF4-FFF2-40B4-BE49-F238E27FC236}">
                  <a16:creationId xmlns="" xmlns:a16="http://schemas.microsoft.com/office/drawing/2014/main" id="{D4F479F7-E2C9-4077-912F-8353F1F383B6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5" name="Freeform: Shape 45">
              <a:extLst>
                <a:ext uri="{FF2B5EF4-FFF2-40B4-BE49-F238E27FC236}">
                  <a16:creationId xmlns="" xmlns:a16="http://schemas.microsoft.com/office/drawing/2014/main" id="{A8E3DB37-4240-4FC7-B7CD-8BA082CDA00F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6" name="Freeform: Shape 46">
              <a:extLst>
                <a:ext uri="{FF2B5EF4-FFF2-40B4-BE49-F238E27FC236}">
                  <a16:creationId xmlns="" xmlns:a16="http://schemas.microsoft.com/office/drawing/2014/main" id="{B9620230-D485-4F45-8751-46827E6A8D8C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7" name="Freeform: Shape 47">
              <a:extLst>
                <a:ext uri="{FF2B5EF4-FFF2-40B4-BE49-F238E27FC236}">
                  <a16:creationId xmlns="" xmlns:a16="http://schemas.microsoft.com/office/drawing/2014/main" id="{F4999380-97DA-40BA-8B24-D6171BCF7896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8" name="Freeform: Shape 48">
              <a:extLst>
                <a:ext uri="{FF2B5EF4-FFF2-40B4-BE49-F238E27FC236}">
                  <a16:creationId xmlns="" xmlns:a16="http://schemas.microsoft.com/office/drawing/2014/main" id="{A993B365-95EB-4F8E-BB12-3F7DFDF0B355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9" name="Freeform: Shape 49">
              <a:extLst>
                <a:ext uri="{FF2B5EF4-FFF2-40B4-BE49-F238E27FC236}">
                  <a16:creationId xmlns="" xmlns:a16="http://schemas.microsoft.com/office/drawing/2014/main" id="{EF1B278E-DB13-4B7A-88EB-B9D6AD816E46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03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1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4" grpId="0" animBg="1"/>
      <p:bldP spid="97" grpId="0"/>
      <p:bldP spid="175" grpId="0" animBg="1"/>
      <p:bldP spid="153" grpId="0" animBg="1"/>
      <p:bldP spid="176" grpId="0" animBg="1"/>
      <p:bldP spid="177" grpId="0" animBg="1"/>
      <p:bldP spid="179" grpId="0" animBg="1"/>
      <p:bldP spid="181" grpId="0"/>
      <p:bldP spid="182" grpId="0"/>
      <p:bldP spid="183" grpId="0"/>
      <p:bldP spid="191" grpId="0" animBg="1"/>
      <p:bldP spid="83" grpId="0"/>
      <p:bldP spid="84" grpId="0"/>
      <p:bldP spid="85" grpId="0"/>
      <p:bldP spid="86" grpId="0"/>
      <p:bldP spid="89" grpId="0" animBg="1"/>
      <p:bldP spid="90" grpId="0" animBg="1"/>
      <p:bldP spid="102" grpId="0" animBg="1"/>
      <p:bldP spid="116" grpId="0"/>
      <p:bldP spid="117" grpId="0"/>
      <p:bldP spid="1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1273567"/>
          </a:xfrm>
          <a:prstGeom prst="rect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 algn="ctr">
            <a:noFill/>
            <a:prstDash val="solid"/>
            <a:bevel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endParaRPr lang="en-US" sz="3200" b="1" kern="0" dirty="0">
              <a:solidFill>
                <a:srgbClr val="FFFFFF"/>
              </a:solidFill>
              <a:latin typeface="SwissReSans Light" panose="020B05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037D3AB-EF54-9749-BCA0-499CFD9DE2F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-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07" t="33085" r="418" b="24460"/>
          <a:stretch/>
        </p:blipFill>
        <p:spPr>
          <a:xfrm>
            <a:off x="0" y="1276350"/>
            <a:ext cx="12192000" cy="558165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xmlns="" id="{65E0B02A-200F-2242-8457-71BB70C53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spoke Solution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DEE51B2-071F-B643-9B1A-B486E4E346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SwissReSans" panose="020B0604020202020204" pitchFamily="34" charset="0"/>
              </a:rPr>
              <a:t>Swiss </a:t>
            </a:r>
            <a:r>
              <a:rPr lang="en-US" dirty="0" err="1" smtClean="0">
                <a:latin typeface="SwissReSans" panose="020B0604020202020204" pitchFamily="34" charset="0"/>
              </a:rPr>
              <a:t>Re’s</a:t>
            </a:r>
            <a:r>
              <a:rPr lang="en-US" dirty="0" smtClean="0">
                <a:latin typeface="SwissReSans" panose="020B0604020202020204" pitchFamily="34" charset="0"/>
              </a:rPr>
              <a:t> capabilities and resources</a:t>
            </a:r>
            <a:endParaRPr lang="en-US" dirty="0">
              <a:latin typeface="SwissReSans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0D8453D-B164-924F-B6DC-1D809360FF4D}"/>
              </a:ext>
            </a:extLst>
          </p:cNvPr>
          <p:cNvSpPr/>
          <p:nvPr/>
        </p:nvSpPr>
        <p:spPr>
          <a:xfrm>
            <a:off x="895558" y="3398478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xmlns="" id="{C4240112-39F6-B149-A0CD-947395DE6ED0}"/>
              </a:ext>
            </a:extLst>
          </p:cNvPr>
          <p:cNvSpPr txBox="1"/>
          <p:nvPr/>
        </p:nvSpPr>
        <p:spPr>
          <a:xfrm>
            <a:off x="2748230" y="3398951"/>
            <a:ext cx="2722929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>
                <a:solidFill>
                  <a:srgbClr val="1756A7"/>
                </a:solidFill>
              </a:rPr>
              <a:t>Scope Definition </a:t>
            </a:r>
          </a:p>
        </p:txBody>
      </p:sp>
      <p:sp>
        <p:nvSpPr>
          <p:cNvPr id="15" name="Textfeld 73">
            <a:extLst>
              <a:ext uri="{FF2B5EF4-FFF2-40B4-BE49-F238E27FC236}">
                <a16:creationId xmlns:a16="http://schemas.microsoft.com/office/drawing/2014/main" xmlns="" id="{9E38518A-ECD3-984C-B4FF-EF72E17CFD40}"/>
              </a:ext>
            </a:extLst>
          </p:cNvPr>
          <p:cNvSpPr txBox="1"/>
          <p:nvPr/>
        </p:nvSpPr>
        <p:spPr>
          <a:xfrm>
            <a:off x="2748231" y="3751266"/>
            <a:ext cx="3185430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Define </a:t>
            </a:r>
            <a:r>
              <a:rPr lang="en-GB" sz="1050" dirty="0" smtClean="0">
                <a:solidFill>
                  <a:srgbClr val="627D77"/>
                </a:solidFill>
              </a:rPr>
              <a:t>our </a:t>
            </a:r>
            <a:r>
              <a:rPr lang="en-GB" sz="1050" dirty="0">
                <a:solidFill>
                  <a:srgbClr val="627D77"/>
                </a:solidFill>
              </a:rPr>
              <a:t>collaboration based on your innovation </a:t>
            </a:r>
            <a:r>
              <a:rPr lang="en-GB" sz="1050" dirty="0" smtClean="0">
                <a:solidFill>
                  <a:srgbClr val="627D77"/>
                </a:solidFill>
              </a:rPr>
              <a:t>strategy and customers` needs </a:t>
            </a:r>
            <a:r>
              <a:rPr lang="en-GB" sz="1050" dirty="0">
                <a:solidFill>
                  <a:srgbClr val="627D77"/>
                </a:solidFill>
              </a:rPr>
              <a:t>&amp; </a:t>
            </a:r>
            <a:r>
              <a:rPr lang="en-GB" sz="1050" dirty="0" smtClean="0">
                <a:solidFill>
                  <a:srgbClr val="627D77"/>
                </a:solidFill>
              </a:rPr>
              <a:t>pains</a:t>
            </a:r>
          </a:p>
          <a:p>
            <a:pPr defTabSz="1219170">
              <a:spcBef>
                <a:spcPct val="20000"/>
              </a:spcBef>
              <a:defRPr/>
            </a:pPr>
            <a:endParaRPr lang="en-GB" sz="1050" dirty="0">
              <a:solidFill>
                <a:srgbClr val="627D77"/>
              </a:solidFill>
            </a:endParaRPr>
          </a:p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Set the foundations of our collaboration remuneration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9E71821C-CB03-2E45-8EB9-00DB4EEF2BF8}"/>
              </a:ext>
            </a:extLst>
          </p:cNvPr>
          <p:cNvSpPr/>
          <p:nvPr/>
        </p:nvSpPr>
        <p:spPr>
          <a:xfrm>
            <a:off x="895558" y="4824417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8" name="Textfeld 22">
            <a:extLst>
              <a:ext uri="{FF2B5EF4-FFF2-40B4-BE49-F238E27FC236}">
                <a16:creationId xmlns:a16="http://schemas.microsoft.com/office/drawing/2014/main" xmlns="" id="{B62C6BA7-94DC-C543-85D8-F162AD14308D}"/>
              </a:ext>
            </a:extLst>
          </p:cNvPr>
          <p:cNvSpPr txBox="1"/>
          <p:nvPr/>
        </p:nvSpPr>
        <p:spPr>
          <a:xfrm>
            <a:off x="2748231" y="4824890"/>
            <a:ext cx="1681018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>
                <a:solidFill>
                  <a:srgbClr val="1D9DD9"/>
                </a:solidFill>
              </a:rPr>
              <a:t>Design Thinking</a:t>
            </a:r>
          </a:p>
        </p:txBody>
      </p:sp>
      <p:sp>
        <p:nvSpPr>
          <p:cNvPr id="39" name="Textfeld 73">
            <a:extLst>
              <a:ext uri="{FF2B5EF4-FFF2-40B4-BE49-F238E27FC236}">
                <a16:creationId xmlns:a16="http://schemas.microsoft.com/office/drawing/2014/main" xmlns="" id="{1E84B464-947B-9646-AA32-10C543910476}"/>
              </a:ext>
            </a:extLst>
          </p:cNvPr>
          <p:cNvSpPr txBox="1"/>
          <p:nvPr/>
        </p:nvSpPr>
        <p:spPr>
          <a:xfrm>
            <a:off x="2748231" y="5177205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Define a challenge that we will tackle with </a:t>
            </a:r>
            <a:r>
              <a:rPr lang="en-GB" sz="1050" dirty="0" smtClean="0">
                <a:solidFill>
                  <a:srgbClr val="627D77"/>
                </a:solidFill>
              </a:rPr>
              <a:t>human </a:t>
            </a:r>
            <a:r>
              <a:rPr lang="en-GB" sz="1050" dirty="0">
                <a:solidFill>
                  <a:srgbClr val="627D77"/>
                </a:solidFill>
              </a:rPr>
              <a:t>centred </a:t>
            </a:r>
            <a:r>
              <a:rPr lang="en-GB" sz="1050" dirty="0" smtClean="0">
                <a:solidFill>
                  <a:srgbClr val="627D77"/>
                </a:solidFill>
              </a:rPr>
              <a:t>design – Design Thinking</a:t>
            </a:r>
          </a:p>
          <a:p>
            <a:pPr defTabSz="1219170">
              <a:spcBef>
                <a:spcPct val="20000"/>
              </a:spcBef>
              <a:defRPr/>
            </a:pPr>
            <a:endParaRPr lang="en-GB" sz="1050" dirty="0">
              <a:solidFill>
                <a:srgbClr val="627D77"/>
              </a:solidFill>
            </a:endParaRPr>
          </a:p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We design fully from customer perspectiv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39A384D9-33B4-414A-89A1-535D69E7F440}"/>
              </a:ext>
            </a:extLst>
          </p:cNvPr>
          <p:cNvSpPr/>
          <p:nvPr/>
        </p:nvSpPr>
        <p:spPr>
          <a:xfrm>
            <a:off x="6024149" y="3398478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1" name="Textfeld 22">
            <a:extLst>
              <a:ext uri="{FF2B5EF4-FFF2-40B4-BE49-F238E27FC236}">
                <a16:creationId xmlns:a16="http://schemas.microsoft.com/office/drawing/2014/main" xmlns="" id="{6D0233A1-9423-B042-91D5-753D4BE6040B}"/>
              </a:ext>
            </a:extLst>
          </p:cNvPr>
          <p:cNvSpPr txBox="1"/>
          <p:nvPr/>
        </p:nvSpPr>
        <p:spPr>
          <a:xfrm>
            <a:off x="7876822" y="3398951"/>
            <a:ext cx="1681018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>
                <a:solidFill>
                  <a:srgbClr val="1A7BC1"/>
                </a:solidFill>
              </a:rPr>
              <a:t>Prototyping</a:t>
            </a:r>
          </a:p>
        </p:txBody>
      </p:sp>
      <p:sp>
        <p:nvSpPr>
          <p:cNvPr id="42" name="Textfeld 73">
            <a:extLst>
              <a:ext uri="{FF2B5EF4-FFF2-40B4-BE49-F238E27FC236}">
                <a16:creationId xmlns:a16="http://schemas.microsoft.com/office/drawing/2014/main" xmlns="" id="{DF79FF9D-D511-5240-8AC0-01F3AE077D74}"/>
              </a:ext>
            </a:extLst>
          </p:cNvPr>
          <p:cNvSpPr txBox="1"/>
          <p:nvPr/>
        </p:nvSpPr>
        <p:spPr>
          <a:xfrm>
            <a:off x="7876822" y="3742504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GB" sz="1050" dirty="0">
                <a:solidFill>
                  <a:srgbClr val="627D77"/>
                </a:solidFill>
              </a:rPr>
              <a:t>Build a prototype to show the customer and test them over and over </a:t>
            </a:r>
            <a:r>
              <a:rPr lang="en-GB" sz="1050" dirty="0" smtClean="0">
                <a:solidFill>
                  <a:srgbClr val="627D77"/>
                </a:solidFill>
              </a:rPr>
              <a:t>again</a:t>
            </a:r>
          </a:p>
          <a:p>
            <a:endParaRPr lang="en-GB" sz="1050" dirty="0">
              <a:solidFill>
                <a:srgbClr val="627D77"/>
              </a:solidFill>
            </a:endParaRPr>
          </a:p>
          <a:p>
            <a:r>
              <a:rPr lang="en-GB" sz="1050" dirty="0">
                <a:solidFill>
                  <a:srgbClr val="627D77"/>
                </a:solidFill>
              </a:rPr>
              <a:t>Findings will be basis for a go-live MVP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4B397895-D5D8-8746-9E39-BB52C2534062}"/>
              </a:ext>
            </a:extLst>
          </p:cNvPr>
          <p:cNvSpPr/>
          <p:nvPr/>
        </p:nvSpPr>
        <p:spPr>
          <a:xfrm>
            <a:off x="6024149" y="4824417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4" name="Textfeld 22">
            <a:extLst>
              <a:ext uri="{FF2B5EF4-FFF2-40B4-BE49-F238E27FC236}">
                <a16:creationId xmlns:a16="http://schemas.microsoft.com/office/drawing/2014/main" xmlns="" id="{5E23D9A6-1AA4-0147-87F5-2821F428B7BA}"/>
              </a:ext>
            </a:extLst>
          </p:cNvPr>
          <p:cNvSpPr txBox="1"/>
          <p:nvPr/>
        </p:nvSpPr>
        <p:spPr>
          <a:xfrm>
            <a:off x="7876821" y="4824890"/>
            <a:ext cx="3461775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 smtClean="0">
                <a:solidFill>
                  <a:srgbClr val="20C2F3"/>
                </a:solidFill>
              </a:rPr>
              <a:t>Product </a:t>
            </a:r>
            <a:r>
              <a:rPr lang="en-GB" sz="1600" b="1" dirty="0">
                <a:solidFill>
                  <a:srgbClr val="20C2F3"/>
                </a:solidFill>
              </a:rPr>
              <a:t>&amp; Business Plan</a:t>
            </a:r>
          </a:p>
        </p:txBody>
      </p:sp>
      <p:sp>
        <p:nvSpPr>
          <p:cNvPr id="45" name="Textfeld 73">
            <a:extLst>
              <a:ext uri="{FF2B5EF4-FFF2-40B4-BE49-F238E27FC236}">
                <a16:creationId xmlns:a16="http://schemas.microsoft.com/office/drawing/2014/main" xmlns="" id="{22EE54AA-1388-5346-A63F-E4F581B46970}"/>
              </a:ext>
            </a:extLst>
          </p:cNvPr>
          <p:cNvSpPr txBox="1"/>
          <p:nvPr/>
        </p:nvSpPr>
        <p:spPr>
          <a:xfrm>
            <a:off x="7876822" y="5168754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Plan the MVP development, define the business plan and get </a:t>
            </a:r>
            <a:r>
              <a:rPr lang="en-GB" sz="1050" dirty="0" smtClean="0">
                <a:solidFill>
                  <a:srgbClr val="627D77"/>
                </a:solidFill>
              </a:rPr>
              <a:t>resources</a:t>
            </a:r>
          </a:p>
          <a:p>
            <a:pPr defTabSz="1219170">
              <a:spcBef>
                <a:spcPct val="20000"/>
              </a:spcBef>
              <a:defRPr/>
            </a:pPr>
            <a:endParaRPr lang="en-GB" sz="1050" dirty="0">
              <a:solidFill>
                <a:srgbClr val="627D77"/>
              </a:solidFill>
            </a:endParaRPr>
          </a:p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Prepare the development of a fully fledged produc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42D7D148-DAEB-7F4C-9276-156930ED82C7}"/>
              </a:ext>
            </a:extLst>
          </p:cNvPr>
          <p:cNvSpPr/>
          <p:nvPr/>
        </p:nvSpPr>
        <p:spPr>
          <a:xfrm>
            <a:off x="895558" y="3398478"/>
            <a:ext cx="1549468" cy="1326811"/>
          </a:xfrm>
          <a:prstGeom prst="rect">
            <a:avLst/>
          </a:prstGeom>
          <a:solidFill>
            <a:srgbClr val="175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979D25EC-4581-DF40-A205-196A866CD571}"/>
              </a:ext>
            </a:extLst>
          </p:cNvPr>
          <p:cNvSpPr/>
          <p:nvPr/>
        </p:nvSpPr>
        <p:spPr>
          <a:xfrm>
            <a:off x="895558" y="4819774"/>
            <a:ext cx="1549468" cy="1346076"/>
          </a:xfrm>
          <a:prstGeom prst="rect">
            <a:avLst/>
          </a:prstGeom>
          <a:solidFill>
            <a:srgbClr val="1D9D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553E2B20-B8C3-2548-9DF7-ACB69476BD8B}"/>
              </a:ext>
            </a:extLst>
          </p:cNvPr>
          <p:cNvSpPr/>
          <p:nvPr/>
        </p:nvSpPr>
        <p:spPr>
          <a:xfrm>
            <a:off x="6024149" y="3398478"/>
            <a:ext cx="1549468" cy="1326811"/>
          </a:xfrm>
          <a:prstGeom prst="rect">
            <a:avLst/>
          </a:prstGeom>
          <a:solidFill>
            <a:srgbClr val="1A7B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98AFCE83-1F4E-B849-B651-C6D3EAE0B379}"/>
              </a:ext>
            </a:extLst>
          </p:cNvPr>
          <p:cNvSpPr/>
          <p:nvPr/>
        </p:nvSpPr>
        <p:spPr>
          <a:xfrm>
            <a:off x="6024149" y="4819774"/>
            <a:ext cx="1549468" cy="1346076"/>
          </a:xfrm>
          <a:prstGeom prst="rect">
            <a:avLst/>
          </a:prstGeom>
          <a:solidFill>
            <a:srgbClr val="2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5D76AE63-5A80-2C4C-A9C5-3A03A31C0A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317468" y="3663862"/>
            <a:ext cx="752764" cy="752764"/>
          </a:xfrm>
          <a:prstGeom prst="rect">
            <a:avLst/>
          </a:prstGeom>
        </p:spPr>
      </p:pic>
      <p:pic>
        <p:nvPicPr>
          <p:cNvPr id="56" name="Picture 55" descr="A close up of a sign&#10;&#10;Description automatically generated">
            <a:extLst>
              <a:ext uri="{FF2B5EF4-FFF2-40B4-BE49-F238E27FC236}">
                <a16:creationId xmlns:a16="http://schemas.microsoft.com/office/drawing/2014/main" xmlns="" id="{9A13361D-AC3C-914C-A2C0-D1C8CAE197B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837" y="5056956"/>
            <a:ext cx="840289" cy="840289"/>
          </a:xfrm>
          <a:prstGeom prst="rect">
            <a:avLst/>
          </a:prstGeom>
        </p:spPr>
      </p:pic>
      <p:pic>
        <p:nvPicPr>
          <p:cNvPr id="57" name="Picture 56" descr="A picture containing monitor, sitting&#10;&#10;Description automatically generated">
            <a:extLst>
              <a:ext uri="{FF2B5EF4-FFF2-40B4-BE49-F238E27FC236}">
                <a16:creationId xmlns:a16="http://schemas.microsoft.com/office/drawing/2014/main" xmlns="" id="{B124FC38-276D-324F-BEF5-0656A3253A5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815" y="3632490"/>
            <a:ext cx="784136" cy="78413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CCC3113E-63D4-A64C-9194-555DB74A28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550" y="4950581"/>
            <a:ext cx="946666" cy="946664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xmlns="" id="{5DEE51B2-071F-B643-9B1A-B486E4E346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558" y="2812533"/>
            <a:ext cx="3777026" cy="343790"/>
          </a:xfrm>
        </p:spPr>
        <p:txBody>
          <a:bodyPr/>
          <a:lstStyle/>
          <a:p>
            <a:r>
              <a:rPr lang="en-US" sz="2800" b="1" dirty="0" smtClean="0"/>
              <a:t>Ideation and Design</a:t>
            </a:r>
            <a:endParaRPr lang="en-US" sz="28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892383" y="3433073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028999" y="3393835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>
                <a:solidFill>
                  <a:schemeClr val="bg1"/>
                </a:solidFill>
              </a:rPr>
              <a:t>3</a:t>
            </a:r>
            <a:endParaRPr lang="en-GB" sz="1200" b="1" dirty="0" smtClean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049205" y="4848670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911225" y="4823420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>
                <a:solidFill>
                  <a:schemeClr val="bg1"/>
                </a:solidFill>
              </a:rPr>
              <a:t>2</a:t>
            </a:r>
            <a:endParaRPr lang="en-GB" sz="1200" b="1" dirty="0" smtClean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/>
          <a:srcRect t="53848" r="49273"/>
          <a:stretch/>
        </p:blipFill>
        <p:spPr>
          <a:xfrm>
            <a:off x="10494117" y="-27384"/>
            <a:ext cx="1722563" cy="1477193"/>
          </a:xfrm>
          <a:prstGeom prst="rect">
            <a:avLst/>
          </a:prstGeom>
        </p:spPr>
      </p:pic>
      <p:grpSp>
        <p:nvGrpSpPr>
          <p:cNvPr id="34" name="Graphic 10">
            <a:extLst>
              <a:ext uri="{FF2B5EF4-FFF2-40B4-BE49-F238E27FC236}">
                <a16:creationId xmlns="" xmlns:a16="http://schemas.microsoft.com/office/drawing/2014/main" id="{7F488C1B-2ECC-4B6F-96EC-1307AA06AC9D}"/>
              </a:ext>
            </a:extLst>
          </p:cNvPr>
          <p:cNvGrpSpPr>
            <a:grpSpLocks/>
          </p:cNvGrpSpPr>
          <p:nvPr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rgbClr val="FFFFFF"/>
          </a:solidFill>
        </p:grpSpPr>
        <p:sp>
          <p:nvSpPr>
            <p:cNvPr id="35" name="Freeform: Shape 41">
              <a:extLst>
                <a:ext uri="{FF2B5EF4-FFF2-40B4-BE49-F238E27FC236}">
                  <a16:creationId xmlns="" xmlns:a16="http://schemas.microsoft.com/office/drawing/2014/main" id="{84984209-FB45-4B0B-8900-15EF4913310D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0" name="Freeform: Shape 42">
              <a:extLst>
                <a:ext uri="{FF2B5EF4-FFF2-40B4-BE49-F238E27FC236}">
                  <a16:creationId xmlns="" xmlns:a16="http://schemas.microsoft.com/office/drawing/2014/main" id="{DF5FB361-169A-478A-A6F4-FB5FC9E36991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1" name="Freeform: Shape 43">
              <a:extLst>
                <a:ext uri="{FF2B5EF4-FFF2-40B4-BE49-F238E27FC236}">
                  <a16:creationId xmlns="" xmlns:a16="http://schemas.microsoft.com/office/drawing/2014/main" id="{BE69DF83-FBC0-41E8-AEFB-062D40277FD9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2" name="Freeform: Shape 44">
              <a:extLst>
                <a:ext uri="{FF2B5EF4-FFF2-40B4-BE49-F238E27FC236}">
                  <a16:creationId xmlns="" xmlns:a16="http://schemas.microsoft.com/office/drawing/2014/main" id="{D4F479F7-E2C9-4077-912F-8353F1F383B6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Freeform: Shape 45">
              <a:extLst>
                <a:ext uri="{FF2B5EF4-FFF2-40B4-BE49-F238E27FC236}">
                  <a16:creationId xmlns="" xmlns:a16="http://schemas.microsoft.com/office/drawing/2014/main" id="{A8E3DB37-4240-4FC7-B7CD-8BA082CDA00F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0" name="Freeform: Shape 46">
              <a:extLst>
                <a:ext uri="{FF2B5EF4-FFF2-40B4-BE49-F238E27FC236}">
                  <a16:creationId xmlns="" xmlns:a16="http://schemas.microsoft.com/office/drawing/2014/main" id="{B9620230-D485-4F45-8751-46827E6A8D8C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1" name="Freeform: Shape 47">
              <a:extLst>
                <a:ext uri="{FF2B5EF4-FFF2-40B4-BE49-F238E27FC236}">
                  <a16:creationId xmlns="" xmlns:a16="http://schemas.microsoft.com/office/drawing/2014/main" id="{F4999380-97DA-40BA-8B24-D6171BCF7896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3" name="Freeform: Shape 48">
              <a:extLst>
                <a:ext uri="{FF2B5EF4-FFF2-40B4-BE49-F238E27FC236}">
                  <a16:creationId xmlns="" xmlns:a16="http://schemas.microsoft.com/office/drawing/2014/main" id="{A993B365-95EB-4F8E-BB12-3F7DFDF0B355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4" name="Freeform: Shape 49">
              <a:extLst>
                <a:ext uri="{FF2B5EF4-FFF2-40B4-BE49-F238E27FC236}">
                  <a16:creationId xmlns="" xmlns:a16="http://schemas.microsoft.com/office/drawing/2014/main" id="{EF1B278E-DB13-4B7A-88EB-B9D6AD816E46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255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8" grpId="0"/>
      <p:bldP spid="41" grpId="0"/>
      <p:bldP spid="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>
            <a:extLst>
              <a:ext uri="{FF2B5EF4-FFF2-40B4-BE49-F238E27FC236}">
                <a16:creationId xmlns:a16="http://schemas.microsoft.com/office/drawing/2014/main" xmlns="" id="{2091D65C-9F9E-B541-B6D5-1F7645B7397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27" t="19798" b="38050"/>
          <a:stretch/>
        </p:blipFill>
        <p:spPr>
          <a:xfrm>
            <a:off x="0" y="1041562"/>
            <a:ext cx="12192000" cy="5905338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0" y="-38100"/>
            <a:ext cx="12192000" cy="1273567"/>
          </a:xfrm>
          <a:prstGeom prst="rect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 algn="ctr">
            <a:noFill/>
            <a:prstDash val="solid"/>
            <a:bevel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endParaRPr lang="en-US" sz="3200" b="1" kern="0" dirty="0">
              <a:solidFill>
                <a:srgbClr val="FFFFFF"/>
              </a:solidFill>
              <a:latin typeface="SwissReSans Light" panose="020B05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DEE51B2-071F-B643-9B1A-B486E4E346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92" y="611710"/>
            <a:ext cx="7921608" cy="343790"/>
          </a:xfrm>
        </p:spPr>
        <p:txBody>
          <a:bodyPr/>
          <a:lstStyle/>
          <a:p>
            <a:r>
              <a:rPr lang="en-GB" dirty="0" smtClean="0">
                <a:latin typeface="SwissReSans" panose="020B0604020202020204" pitchFamily="34" charset="0"/>
              </a:rPr>
              <a:t>Designing successful propositions together </a:t>
            </a:r>
            <a:endParaRPr lang="en-US" dirty="0">
              <a:latin typeface="SwissReSans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0D8453D-B164-924F-B6DC-1D809360FF4D}"/>
              </a:ext>
            </a:extLst>
          </p:cNvPr>
          <p:cNvSpPr/>
          <p:nvPr/>
        </p:nvSpPr>
        <p:spPr>
          <a:xfrm>
            <a:off x="895558" y="3398478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xmlns="" id="{C4240112-39F6-B149-A0CD-947395DE6ED0}"/>
              </a:ext>
            </a:extLst>
          </p:cNvPr>
          <p:cNvSpPr txBox="1"/>
          <p:nvPr/>
        </p:nvSpPr>
        <p:spPr>
          <a:xfrm>
            <a:off x="2748231" y="3398951"/>
            <a:ext cx="3144784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>
              <a:defRPr sz="1600" b="1">
                <a:solidFill>
                  <a:srgbClr val="1756A7"/>
                </a:solidFill>
              </a:defRPr>
            </a:lvl1pPr>
          </a:lstStyle>
          <a:p>
            <a:r>
              <a:rPr lang="en-GB" dirty="0"/>
              <a:t>Product Development &amp; Pricing</a:t>
            </a:r>
          </a:p>
        </p:txBody>
      </p:sp>
      <p:sp>
        <p:nvSpPr>
          <p:cNvPr id="15" name="Textfeld 73">
            <a:extLst>
              <a:ext uri="{FF2B5EF4-FFF2-40B4-BE49-F238E27FC236}">
                <a16:creationId xmlns:a16="http://schemas.microsoft.com/office/drawing/2014/main" xmlns="" id="{9E38518A-ECD3-984C-B4FF-EF72E17CFD40}"/>
              </a:ext>
            </a:extLst>
          </p:cNvPr>
          <p:cNvSpPr txBox="1"/>
          <p:nvPr/>
        </p:nvSpPr>
        <p:spPr>
          <a:xfrm>
            <a:off x="2748231" y="3751266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en-GB" sz="1050" dirty="0">
                <a:solidFill>
                  <a:srgbClr val="627D77"/>
                </a:solidFill>
              </a:rPr>
              <a:t>Terms &amp; Conditions, policy wording, product structuring, pricing, modelling, benchmarking,</a:t>
            </a:r>
            <a:br>
              <a:rPr lang="en-GB" sz="1050" dirty="0">
                <a:solidFill>
                  <a:srgbClr val="627D77"/>
                </a:solidFill>
              </a:rPr>
            </a:br>
            <a:r>
              <a:rPr lang="en-GB" sz="1050" dirty="0">
                <a:solidFill>
                  <a:srgbClr val="627D77"/>
                </a:solidFill>
              </a:rPr>
              <a:t>legal </a:t>
            </a:r>
            <a:r>
              <a:rPr lang="en-GB" sz="1050" dirty="0" smtClean="0">
                <a:solidFill>
                  <a:srgbClr val="627D77"/>
                </a:solidFill>
              </a:rPr>
              <a:t>topics, regulatory issues,… </a:t>
            </a:r>
            <a:endParaRPr lang="en-GB" sz="1050" dirty="0">
              <a:solidFill>
                <a:srgbClr val="627D77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9E71821C-CB03-2E45-8EB9-00DB4EEF2BF8}"/>
              </a:ext>
            </a:extLst>
          </p:cNvPr>
          <p:cNvSpPr/>
          <p:nvPr/>
        </p:nvSpPr>
        <p:spPr>
          <a:xfrm>
            <a:off x="895558" y="4824417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8" name="Textfeld 22">
            <a:extLst>
              <a:ext uri="{FF2B5EF4-FFF2-40B4-BE49-F238E27FC236}">
                <a16:creationId xmlns:a16="http://schemas.microsoft.com/office/drawing/2014/main" xmlns="" id="{B62C6BA7-94DC-C543-85D8-F162AD14308D}"/>
              </a:ext>
            </a:extLst>
          </p:cNvPr>
          <p:cNvSpPr txBox="1"/>
          <p:nvPr/>
        </p:nvSpPr>
        <p:spPr>
          <a:xfrm>
            <a:off x="2748230" y="4824890"/>
            <a:ext cx="2972713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>
                <a:solidFill>
                  <a:srgbClr val="1D9DD9"/>
                </a:solidFill>
              </a:rPr>
              <a:t>Implementation &amp; Launch</a:t>
            </a:r>
          </a:p>
        </p:txBody>
      </p:sp>
      <p:sp>
        <p:nvSpPr>
          <p:cNvPr id="39" name="Textfeld 73">
            <a:extLst>
              <a:ext uri="{FF2B5EF4-FFF2-40B4-BE49-F238E27FC236}">
                <a16:creationId xmlns:a16="http://schemas.microsoft.com/office/drawing/2014/main" xmlns="" id="{1E84B464-947B-9646-AA32-10C543910476}"/>
              </a:ext>
            </a:extLst>
          </p:cNvPr>
          <p:cNvSpPr txBox="1"/>
          <p:nvPr/>
        </p:nvSpPr>
        <p:spPr>
          <a:xfrm>
            <a:off x="2748231" y="5177205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GB" sz="1050" dirty="0">
                <a:solidFill>
                  <a:srgbClr val="627D77"/>
                </a:solidFill>
              </a:rPr>
              <a:t>Positioning and marketing support, </a:t>
            </a:r>
            <a:r>
              <a:rPr lang="en-GB" sz="1050" dirty="0" smtClean="0">
                <a:solidFill>
                  <a:srgbClr val="627D77"/>
                </a:solidFill>
              </a:rPr>
              <a:t>develop </a:t>
            </a:r>
            <a:r>
              <a:rPr lang="en-GB" sz="1050" dirty="0">
                <a:solidFill>
                  <a:srgbClr val="627D77"/>
                </a:solidFill>
              </a:rPr>
              <a:t>customer journey, define distribution network, develop incentive system for salesfor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39A384D9-33B4-414A-89A1-535D69E7F440}"/>
              </a:ext>
            </a:extLst>
          </p:cNvPr>
          <p:cNvSpPr/>
          <p:nvPr/>
        </p:nvSpPr>
        <p:spPr>
          <a:xfrm>
            <a:off x="6024149" y="3398478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1" name="Textfeld 22">
            <a:extLst>
              <a:ext uri="{FF2B5EF4-FFF2-40B4-BE49-F238E27FC236}">
                <a16:creationId xmlns:a16="http://schemas.microsoft.com/office/drawing/2014/main" xmlns="" id="{6D0233A1-9423-B042-91D5-753D4BE6040B}"/>
              </a:ext>
            </a:extLst>
          </p:cNvPr>
          <p:cNvSpPr txBox="1"/>
          <p:nvPr/>
        </p:nvSpPr>
        <p:spPr>
          <a:xfrm>
            <a:off x="7876821" y="3398951"/>
            <a:ext cx="2471139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>
                <a:solidFill>
                  <a:srgbClr val="1A7BC1"/>
                </a:solidFill>
              </a:rPr>
              <a:t>Business Management</a:t>
            </a:r>
          </a:p>
        </p:txBody>
      </p:sp>
      <p:sp>
        <p:nvSpPr>
          <p:cNvPr id="42" name="Textfeld 73">
            <a:extLst>
              <a:ext uri="{FF2B5EF4-FFF2-40B4-BE49-F238E27FC236}">
                <a16:creationId xmlns:a16="http://schemas.microsoft.com/office/drawing/2014/main" xmlns="" id="{DF79FF9D-D511-5240-8AC0-01F3AE077D74}"/>
              </a:ext>
            </a:extLst>
          </p:cNvPr>
          <p:cNvSpPr txBox="1"/>
          <p:nvPr/>
        </p:nvSpPr>
        <p:spPr>
          <a:xfrm>
            <a:off x="7876822" y="3742504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en-US" sz="1050" dirty="0">
                <a:solidFill>
                  <a:srgbClr val="627D77"/>
                </a:solidFill>
              </a:rPr>
              <a:t>Refine and adjust </a:t>
            </a:r>
            <a:r>
              <a:rPr lang="en-US" sz="1050" dirty="0" smtClean="0">
                <a:solidFill>
                  <a:srgbClr val="627D77"/>
                </a:solidFill>
              </a:rPr>
              <a:t>products</a:t>
            </a:r>
          </a:p>
          <a:p>
            <a:pPr defTabSz="1219170">
              <a:spcBef>
                <a:spcPct val="20000"/>
              </a:spcBef>
              <a:defRPr/>
            </a:pPr>
            <a:endParaRPr lang="en-US" sz="1050" dirty="0">
              <a:solidFill>
                <a:srgbClr val="627D77"/>
              </a:solidFill>
            </a:endParaRPr>
          </a:p>
          <a:p>
            <a:pPr defTabSz="1219170">
              <a:spcBef>
                <a:spcPct val="20000"/>
              </a:spcBef>
              <a:defRPr/>
            </a:pPr>
            <a:r>
              <a:rPr lang="en-US" sz="1050" dirty="0">
                <a:solidFill>
                  <a:srgbClr val="627D77"/>
                </a:solidFill>
              </a:rPr>
              <a:t>Portfolio analysis </a:t>
            </a:r>
            <a:r>
              <a:rPr lang="en-US" sz="1050" dirty="0" smtClean="0">
                <a:solidFill>
                  <a:srgbClr val="627D77"/>
                </a:solidFill>
              </a:rPr>
              <a:t>and Claims’ </a:t>
            </a:r>
            <a:r>
              <a:rPr lang="en-US" sz="1050" dirty="0">
                <a:solidFill>
                  <a:srgbClr val="627D77"/>
                </a:solidFill>
              </a:rPr>
              <a:t>steering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4B397895-D5D8-8746-9E39-BB52C2534062}"/>
              </a:ext>
            </a:extLst>
          </p:cNvPr>
          <p:cNvSpPr/>
          <p:nvPr/>
        </p:nvSpPr>
        <p:spPr>
          <a:xfrm>
            <a:off x="6024149" y="4824417"/>
            <a:ext cx="5038103" cy="1326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4" name="Textfeld 22">
            <a:extLst>
              <a:ext uri="{FF2B5EF4-FFF2-40B4-BE49-F238E27FC236}">
                <a16:creationId xmlns:a16="http://schemas.microsoft.com/office/drawing/2014/main" xmlns="" id="{5E23D9A6-1AA4-0147-87F5-2821F428B7BA}"/>
              </a:ext>
            </a:extLst>
          </p:cNvPr>
          <p:cNvSpPr txBox="1"/>
          <p:nvPr/>
        </p:nvSpPr>
        <p:spPr>
          <a:xfrm>
            <a:off x="7876822" y="4824890"/>
            <a:ext cx="3054296" cy="4641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600" b="1" dirty="0">
                <a:solidFill>
                  <a:srgbClr val="20C2F3"/>
                </a:solidFill>
              </a:rPr>
              <a:t>Reinsurance</a:t>
            </a:r>
          </a:p>
        </p:txBody>
      </p:sp>
      <p:sp>
        <p:nvSpPr>
          <p:cNvPr id="45" name="Textfeld 73">
            <a:extLst>
              <a:ext uri="{FF2B5EF4-FFF2-40B4-BE49-F238E27FC236}">
                <a16:creationId xmlns:a16="http://schemas.microsoft.com/office/drawing/2014/main" xmlns="" id="{22EE54AA-1388-5346-A63F-E4F581B46970}"/>
              </a:ext>
            </a:extLst>
          </p:cNvPr>
          <p:cNvSpPr txBox="1"/>
          <p:nvPr/>
        </p:nvSpPr>
        <p:spPr>
          <a:xfrm>
            <a:off x="7876822" y="5168754"/>
            <a:ext cx="3054296" cy="62123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GB" sz="1050" dirty="0">
                <a:solidFill>
                  <a:srgbClr val="627D77"/>
                </a:solidFill>
              </a:rPr>
              <a:t>Risk sharing on the product </a:t>
            </a:r>
            <a:r>
              <a:rPr lang="en-GB" sz="1050" dirty="0" smtClean="0">
                <a:solidFill>
                  <a:srgbClr val="627D77"/>
                </a:solidFill>
              </a:rPr>
              <a:t>co-developed</a:t>
            </a:r>
          </a:p>
          <a:p>
            <a:endParaRPr lang="en-GB" sz="1050" dirty="0">
              <a:solidFill>
                <a:srgbClr val="627D77"/>
              </a:solidFill>
            </a:endParaRPr>
          </a:p>
          <a:p>
            <a:r>
              <a:rPr lang="en-GB" sz="1050" dirty="0">
                <a:solidFill>
                  <a:srgbClr val="627D77"/>
                </a:solidFill>
              </a:rPr>
              <a:t>We have skin in the ga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42D7D148-DAEB-7F4C-9276-156930ED82C7}"/>
              </a:ext>
            </a:extLst>
          </p:cNvPr>
          <p:cNvSpPr/>
          <p:nvPr/>
        </p:nvSpPr>
        <p:spPr>
          <a:xfrm>
            <a:off x="895558" y="3398478"/>
            <a:ext cx="1549468" cy="1326811"/>
          </a:xfrm>
          <a:prstGeom prst="rect">
            <a:avLst/>
          </a:prstGeom>
          <a:solidFill>
            <a:srgbClr val="175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979D25EC-4581-DF40-A205-196A866CD571}"/>
              </a:ext>
            </a:extLst>
          </p:cNvPr>
          <p:cNvSpPr/>
          <p:nvPr/>
        </p:nvSpPr>
        <p:spPr>
          <a:xfrm>
            <a:off x="895558" y="4819774"/>
            <a:ext cx="1549468" cy="1346076"/>
          </a:xfrm>
          <a:prstGeom prst="rect">
            <a:avLst/>
          </a:prstGeom>
          <a:solidFill>
            <a:srgbClr val="1D9D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553E2B20-B8C3-2548-9DF7-ACB69476BD8B}"/>
              </a:ext>
            </a:extLst>
          </p:cNvPr>
          <p:cNvSpPr/>
          <p:nvPr/>
        </p:nvSpPr>
        <p:spPr>
          <a:xfrm>
            <a:off x="6024149" y="3398478"/>
            <a:ext cx="1549468" cy="1326811"/>
          </a:xfrm>
          <a:prstGeom prst="rect">
            <a:avLst/>
          </a:prstGeom>
          <a:solidFill>
            <a:srgbClr val="1A7B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98AFCE83-1F4E-B849-B651-C6D3EAE0B379}"/>
              </a:ext>
            </a:extLst>
          </p:cNvPr>
          <p:cNvSpPr/>
          <p:nvPr/>
        </p:nvSpPr>
        <p:spPr>
          <a:xfrm>
            <a:off x="6024149" y="4819774"/>
            <a:ext cx="1549468" cy="1346076"/>
          </a:xfrm>
          <a:prstGeom prst="rect">
            <a:avLst/>
          </a:prstGeom>
          <a:solidFill>
            <a:srgbClr val="20C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60" name="Picture 59" descr="A picture containing tableware, plate, dishware&#10;&#10;Description automatically generated">
            <a:extLst>
              <a:ext uri="{FF2B5EF4-FFF2-40B4-BE49-F238E27FC236}">
                <a16:creationId xmlns:a16="http://schemas.microsoft.com/office/drawing/2014/main" xmlns="" id="{AA5FE2BF-3E10-DA49-9D56-2303C1FA19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695" y="3655306"/>
            <a:ext cx="717194" cy="717194"/>
          </a:xfrm>
          <a:prstGeom prst="rect">
            <a:avLst/>
          </a:prstGeom>
        </p:spPr>
      </p:pic>
      <p:pic>
        <p:nvPicPr>
          <p:cNvPr id="61" name="Picture 60" descr="A close up of a sign&#10;&#10;Description automatically generated">
            <a:extLst>
              <a:ext uri="{FF2B5EF4-FFF2-40B4-BE49-F238E27FC236}">
                <a16:creationId xmlns:a16="http://schemas.microsoft.com/office/drawing/2014/main" xmlns="" id="{E622A67E-ED68-714A-A6C3-BB1F6F62E1E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540" y="5092092"/>
            <a:ext cx="832702" cy="832702"/>
          </a:xfrm>
          <a:prstGeom prst="rect">
            <a:avLst/>
          </a:prstGeom>
        </p:spPr>
      </p:pic>
      <p:pic>
        <p:nvPicPr>
          <p:cNvPr id="62" name="Picture 6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4A831FF-E431-0B4F-B753-276607D7F78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237" y="3619908"/>
            <a:ext cx="824948" cy="824948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xmlns="" id="{50B0F63F-4B14-0748-9E28-9258716650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45" y="5080815"/>
            <a:ext cx="719789" cy="719789"/>
          </a:xfrm>
          <a:prstGeom prst="rect">
            <a:avLst/>
          </a:prstGeom>
        </p:spPr>
      </p:pic>
      <p:sp>
        <p:nvSpPr>
          <p:cNvPr id="34" name="Title 3">
            <a:extLst>
              <a:ext uri="{FF2B5EF4-FFF2-40B4-BE49-F238E27FC236}">
                <a16:creationId xmlns:a16="http://schemas.microsoft.com/office/drawing/2014/main" xmlns="" id="{65E0B02A-200F-2242-8457-71BB70C53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411" y="182848"/>
            <a:ext cx="7854479" cy="342800"/>
          </a:xfrm>
        </p:spPr>
        <p:txBody>
          <a:bodyPr/>
          <a:lstStyle/>
          <a:p>
            <a:r>
              <a:rPr lang="en-GB" dirty="0" smtClean="0"/>
              <a:t>Bespoke Solutions</a:t>
            </a:r>
            <a:endParaRPr lang="en-US" dirty="0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xmlns="" id="{5DEE51B2-071F-B643-9B1A-B486E4E346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5558" y="2812533"/>
            <a:ext cx="3777026" cy="343790"/>
          </a:xfrm>
        </p:spPr>
        <p:txBody>
          <a:bodyPr/>
          <a:lstStyle/>
          <a:p>
            <a:r>
              <a:rPr lang="en-US" sz="2800" b="1" dirty="0" smtClean="0"/>
              <a:t>Development</a:t>
            </a:r>
            <a:endParaRPr lang="en-US" sz="28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892383" y="3433073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028999" y="3393835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>
                <a:solidFill>
                  <a:schemeClr val="bg1"/>
                </a:solidFill>
              </a:rPr>
              <a:t>3</a:t>
            </a:r>
            <a:endParaRPr lang="en-GB" sz="1200" b="1" dirty="0" smtClean="0">
              <a:solidFill>
                <a:schemeClr val="bg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049205" y="4848670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911225" y="4823420"/>
            <a:ext cx="326572" cy="2830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200" b="1" dirty="0">
                <a:solidFill>
                  <a:schemeClr val="bg1"/>
                </a:solidFill>
              </a:rPr>
              <a:t>2</a:t>
            </a:r>
            <a:endParaRPr lang="en-GB" sz="1200" b="1" dirty="0" smtClean="0">
              <a:solidFill>
                <a:schemeClr val="bg1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8"/>
          <a:srcRect t="53848" r="49273"/>
          <a:stretch/>
        </p:blipFill>
        <p:spPr>
          <a:xfrm>
            <a:off x="10494117" y="-27384"/>
            <a:ext cx="1722563" cy="1477193"/>
          </a:xfrm>
          <a:prstGeom prst="rect">
            <a:avLst/>
          </a:prstGeom>
        </p:spPr>
      </p:pic>
      <p:grpSp>
        <p:nvGrpSpPr>
          <p:cNvPr id="51" name="Graphic 10">
            <a:extLst>
              <a:ext uri="{FF2B5EF4-FFF2-40B4-BE49-F238E27FC236}">
                <a16:creationId xmlns="" xmlns:a16="http://schemas.microsoft.com/office/drawing/2014/main" id="{7F488C1B-2ECC-4B6F-96EC-1307AA06AC9D}"/>
              </a:ext>
            </a:extLst>
          </p:cNvPr>
          <p:cNvGrpSpPr>
            <a:grpSpLocks/>
          </p:cNvGrpSpPr>
          <p:nvPr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rgbClr val="FFFFFF"/>
          </a:solidFill>
        </p:grpSpPr>
        <p:sp>
          <p:nvSpPr>
            <p:cNvPr id="52" name="Freeform: Shape 41">
              <a:extLst>
                <a:ext uri="{FF2B5EF4-FFF2-40B4-BE49-F238E27FC236}">
                  <a16:creationId xmlns="" xmlns:a16="http://schemas.microsoft.com/office/drawing/2014/main" id="{84984209-FB45-4B0B-8900-15EF4913310D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Freeform: Shape 42">
              <a:extLst>
                <a:ext uri="{FF2B5EF4-FFF2-40B4-BE49-F238E27FC236}">
                  <a16:creationId xmlns="" xmlns:a16="http://schemas.microsoft.com/office/drawing/2014/main" id="{DF5FB361-169A-478A-A6F4-FB5FC9E36991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8" name="Freeform: Shape 43">
              <a:extLst>
                <a:ext uri="{FF2B5EF4-FFF2-40B4-BE49-F238E27FC236}">
                  <a16:creationId xmlns="" xmlns:a16="http://schemas.microsoft.com/office/drawing/2014/main" id="{BE69DF83-FBC0-41E8-AEFB-062D40277FD9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9" name="Freeform: Shape 44">
              <a:extLst>
                <a:ext uri="{FF2B5EF4-FFF2-40B4-BE49-F238E27FC236}">
                  <a16:creationId xmlns="" xmlns:a16="http://schemas.microsoft.com/office/drawing/2014/main" id="{D4F479F7-E2C9-4077-912F-8353F1F383B6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5" name="Freeform: Shape 45">
              <a:extLst>
                <a:ext uri="{FF2B5EF4-FFF2-40B4-BE49-F238E27FC236}">
                  <a16:creationId xmlns="" xmlns:a16="http://schemas.microsoft.com/office/drawing/2014/main" id="{A8E3DB37-4240-4FC7-B7CD-8BA082CDA00F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6" name="Freeform: Shape 46">
              <a:extLst>
                <a:ext uri="{FF2B5EF4-FFF2-40B4-BE49-F238E27FC236}">
                  <a16:creationId xmlns="" xmlns:a16="http://schemas.microsoft.com/office/drawing/2014/main" id="{B9620230-D485-4F45-8751-46827E6A8D8C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7" name="Freeform: Shape 47">
              <a:extLst>
                <a:ext uri="{FF2B5EF4-FFF2-40B4-BE49-F238E27FC236}">
                  <a16:creationId xmlns="" xmlns:a16="http://schemas.microsoft.com/office/drawing/2014/main" id="{F4999380-97DA-40BA-8B24-D6171BCF7896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8" name="Freeform: Shape 48">
              <a:extLst>
                <a:ext uri="{FF2B5EF4-FFF2-40B4-BE49-F238E27FC236}">
                  <a16:creationId xmlns="" xmlns:a16="http://schemas.microsoft.com/office/drawing/2014/main" id="{A993B365-95EB-4F8E-BB12-3F7DFDF0B355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9" name="Freeform: Shape 49">
              <a:extLst>
                <a:ext uri="{FF2B5EF4-FFF2-40B4-BE49-F238E27FC236}">
                  <a16:creationId xmlns="" xmlns:a16="http://schemas.microsoft.com/office/drawing/2014/main" id="{EF1B278E-DB13-4B7A-88EB-B9D6AD816E46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625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3566"/>
            <a:ext cx="12192000" cy="5584433"/>
          </a:xfrm>
          <a:custGeom>
            <a:avLst/>
            <a:gdLst>
              <a:gd name="connsiteX0" fmla="*/ 0 w 12200887"/>
              <a:gd name="connsiteY0" fmla="*/ 0 h 3429000"/>
              <a:gd name="connsiteX1" fmla="*/ 12200887 w 12200887"/>
              <a:gd name="connsiteY1" fmla="*/ 0 h 3429000"/>
              <a:gd name="connsiteX2" fmla="*/ 12200887 w 12200887"/>
              <a:gd name="connsiteY2" fmla="*/ 3429000 h 3429000"/>
              <a:gd name="connsiteX3" fmla="*/ 0 w 12200887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0887" h="3429000">
                <a:moveTo>
                  <a:pt x="0" y="0"/>
                </a:moveTo>
                <a:lnTo>
                  <a:pt x="12200887" y="0"/>
                </a:lnTo>
                <a:lnTo>
                  <a:pt x="12200887" y="3429000"/>
                </a:lnTo>
                <a:lnTo>
                  <a:pt x="0" y="3429000"/>
                </a:lnTo>
                <a:close/>
              </a:path>
            </a:pathLst>
          </a:cu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/>
          <p:nvPr/>
        </p:nvSpPr>
        <p:spPr>
          <a:xfrm>
            <a:off x="0" y="0"/>
            <a:ext cx="12192000" cy="1273567"/>
          </a:xfrm>
          <a:prstGeom prst="rect">
            <a:avLst/>
          </a:prstGeom>
          <a:gradFill>
            <a:gsLst>
              <a:gs pos="0">
                <a:srgbClr val="1755A6"/>
              </a:gs>
              <a:gs pos="100000">
                <a:srgbClr val="20C2F3"/>
              </a:gs>
            </a:gsLst>
            <a:lin ang="0" scaled="1"/>
          </a:gradFill>
          <a:ln w="25400" cap="flat" cmpd="sng" algn="ctr">
            <a:noFill/>
            <a:prstDash val="solid"/>
            <a:bevel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ReSans Light" panose="020B0504020202020204" pitchFamily="34" charset="0"/>
              <a:ea typeface="+mn-ea"/>
              <a:cs typeface="+mn-cs"/>
            </a:endParaRPr>
          </a:p>
        </p:txBody>
      </p:sp>
      <p:sp>
        <p:nvSpPr>
          <p:cNvPr id="45" name="Title 3">
            <a:extLst>
              <a:ext uri="{FF2B5EF4-FFF2-40B4-BE49-F238E27FC236}">
                <a16:creationId xmlns:a16="http://schemas.microsoft.com/office/drawing/2014/main" xmlns="" id="{65E0B02A-200F-2242-8457-71BB70C53842}"/>
              </a:ext>
            </a:extLst>
          </p:cNvPr>
          <p:cNvSpPr txBox="1">
            <a:spLocks/>
          </p:cNvSpPr>
          <p:nvPr/>
        </p:nvSpPr>
        <p:spPr>
          <a:xfrm>
            <a:off x="456411" y="220948"/>
            <a:ext cx="7854479" cy="3428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dirty="0">
                <a:solidFill>
                  <a:srgbClr val="FFFFFF"/>
                </a:solidFill>
                <a:latin typeface="SwissReSans"/>
              </a:rPr>
              <a:t>More than 130 success storie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ReSans"/>
              <a:ea typeface="+mj-ea"/>
              <a:cs typeface="+mj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t="53848" r="49273"/>
          <a:stretch/>
        </p:blipFill>
        <p:spPr>
          <a:xfrm>
            <a:off x="10494117" y="-27384"/>
            <a:ext cx="1722563" cy="1477193"/>
          </a:xfrm>
          <a:prstGeom prst="rect">
            <a:avLst/>
          </a:prstGeom>
        </p:spPr>
      </p:pic>
      <p:grpSp>
        <p:nvGrpSpPr>
          <p:cNvPr id="511" name="Group 510"/>
          <p:cNvGrpSpPr/>
          <p:nvPr/>
        </p:nvGrpSpPr>
        <p:grpSpPr>
          <a:xfrm>
            <a:off x="2135561" y="1515845"/>
            <a:ext cx="8064128" cy="4442176"/>
            <a:chOff x="611561" y="1515845"/>
            <a:chExt cx="8064128" cy="4442176"/>
          </a:xfrm>
        </p:grpSpPr>
        <p:sp>
          <p:nvSpPr>
            <p:cNvPr id="512" name="Freeform 446"/>
            <p:cNvSpPr>
              <a:spLocks/>
            </p:cNvSpPr>
            <p:nvPr/>
          </p:nvSpPr>
          <p:spPr bwMode="auto">
            <a:xfrm>
              <a:off x="6889507" y="3992923"/>
              <a:ext cx="204636" cy="379467"/>
            </a:xfrm>
            <a:custGeom>
              <a:avLst/>
              <a:gdLst>
                <a:gd name="T0" fmla="*/ 2147483646 w 107"/>
                <a:gd name="T1" fmla="*/ 2147483646 h 190"/>
                <a:gd name="T2" fmla="*/ 0 w 107"/>
                <a:gd name="T3" fmla="*/ 2147483646 h 190"/>
                <a:gd name="T4" fmla="*/ 2147483646 w 107"/>
                <a:gd name="T5" fmla="*/ 2147483646 h 190"/>
                <a:gd name="T6" fmla="*/ 2147483646 w 107"/>
                <a:gd name="T7" fmla="*/ 2147483646 h 190"/>
                <a:gd name="T8" fmla="*/ 2147483646 w 107"/>
                <a:gd name="T9" fmla="*/ 2147483646 h 190"/>
                <a:gd name="T10" fmla="*/ 2147483646 w 107"/>
                <a:gd name="T11" fmla="*/ 2147483646 h 190"/>
                <a:gd name="T12" fmla="*/ 2147483646 w 107"/>
                <a:gd name="T13" fmla="*/ 2147483646 h 190"/>
                <a:gd name="T14" fmla="*/ 2147483646 w 107"/>
                <a:gd name="T15" fmla="*/ 2147483646 h 190"/>
                <a:gd name="T16" fmla="*/ 2147483646 w 107"/>
                <a:gd name="T17" fmla="*/ 2147483646 h 190"/>
                <a:gd name="T18" fmla="*/ 2147483646 w 107"/>
                <a:gd name="T19" fmla="*/ 2147483646 h 190"/>
                <a:gd name="T20" fmla="*/ 2147483646 w 107"/>
                <a:gd name="T21" fmla="*/ 2147483646 h 190"/>
                <a:gd name="T22" fmla="*/ 2147483646 w 107"/>
                <a:gd name="T23" fmla="*/ 2147483646 h 190"/>
                <a:gd name="T24" fmla="*/ 2147483646 w 107"/>
                <a:gd name="T25" fmla="*/ 2147483646 h 190"/>
                <a:gd name="T26" fmla="*/ 2147483646 w 107"/>
                <a:gd name="T27" fmla="*/ 2147483646 h 190"/>
                <a:gd name="T28" fmla="*/ 2147483646 w 107"/>
                <a:gd name="T29" fmla="*/ 2147483646 h 190"/>
                <a:gd name="T30" fmla="*/ 2147483646 w 107"/>
                <a:gd name="T31" fmla="*/ 2147483646 h 190"/>
                <a:gd name="T32" fmla="*/ 2147483646 w 107"/>
                <a:gd name="T33" fmla="*/ 2147483646 h 190"/>
                <a:gd name="T34" fmla="*/ 2147483646 w 107"/>
                <a:gd name="T35" fmla="*/ 2147483646 h 190"/>
                <a:gd name="T36" fmla="*/ 2147483646 w 107"/>
                <a:gd name="T37" fmla="*/ 2147483646 h 190"/>
                <a:gd name="T38" fmla="*/ 2147483646 w 107"/>
                <a:gd name="T39" fmla="*/ 2147483646 h 190"/>
                <a:gd name="T40" fmla="*/ 2147483646 w 107"/>
                <a:gd name="T41" fmla="*/ 2147483646 h 190"/>
                <a:gd name="T42" fmla="*/ 2147483646 w 107"/>
                <a:gd name="T43" fmla="*/ 2147483646 h 190"/>
                <a:gd name="T44" fmla="*/ 2147483646 w 107"/>
                <a:gd name="T45" fmla="*/ 2147483646 h 190"/>
                <a:gd name="T46" fmla="*/ 2147483646 w 107"/>
                <a:gd name="T47" fmla="*/ 2147483646 h 190"/>
                <a:gd name="T48" fmla="*/ 2147483646 w 107"/>
                <a:gd name="T49" fmla="*/ 2147483646 h 190"/>
                <a:gd name="T50" fmla="*/ 2147483646 w 107"/>
                <a:gd name="T51" fmla="*/ 2147483646 h 190"/>
                <a:gd name="T52" fmla="*/ 2147483646 w 107"/>
                <a:gd name="T53" fmla="*/ 2147483646 h 190"/>
                <a:gd name="T54" fmla="*/ 2147483646 w 107"/>
                <a:gd name="T55" fmla="*/ 2147483646 h 190"/>
                <a:gd name="T56" fmla="*/ 2147483646 w 107"/>
                <a:gd name="T57" fmla="*/ 2147483646 h 190"/>
                <a:gd name="T58" fmla="*/ 2147483646 w 107"/>
                <a:gd name="T59" fmla="*/ 0 h 190"/>
                <a:gd name="T60" fmla="*/ 2147483646 w 107"/>
                <a:gd name="T61" fmla="*/ 2147483646 h 19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7" h="190">
                  <a:moveTo>
                    <a:pt x="7" y="9"/>
                  </a:moveTo>
                  <a:lnTo>
                    <a:pt x="0" y="23"/>
                  </a:lnTo>
                  <a:lnTo>
                    <a:pt x="15" y="47"/>
                  </a:lnTo>
                  <a:lnTo>
                    <a:pt x="15" y="60"/>
                  </a:lnTo>
                  <a:lnTo>
                    <a:pt x="22" y="78"/>
                  </a:lnTo>
                  <a:lnTo>
                    <a:pt x="19" y="93"/>
                  </a:lnTo>
                  <a:lnTo>
                    <a:pt x="23" y="110"/>
                  </a:lnTo>
                  <a:lnTo>
                    <a:pt x="26" y="118"/>
                  </a:lnTo>
                  <a:lnTo>
                    <a:pt x="19" y="126"/>
                  </a:lnTo>
                  <a:lnTo>
                    <a:pt x="13" y="159"/>
                  </a:lnTo>
                  <a:lnTo>
                    <a:pt x="33" y="182"/>
                  </a:lnTo>
                  <a:lnTo>
                    <a:pt x="34" y="178"/>
                  </a:lnTo>
                  <a:lnTo>
                    <a:pt x="46" y="185"/>
                  </a:lnTo>
                  <a:lnTo>
                    <a:pt x="46" y="190"/>
                  </a:lnTo>
                  <a:lnTo>
                    <a:pt x="56" y="188"/>
                  </a:lnTo>
                  <a:lnTo>
                    <a:pt x="59" y="184"/>
                  </a:lnTo>
                  <a:lnTo>
                    <a:pt x="43" y="174"/>
                  </a:lnTo>
                  <a:lnTo>
                    <a:pt x="27" y="149"/>
                  </a:lnTo>
                  <a:lnTo>
                    <a:pt x="19" y="138"/>
                  </a:lnTo>
                  <a:lnTo>
                    <a:pt x="32" y="113"/>
                  </a:lnTo>
                  <a:lnTo>
                    <a:pt x="57" y="108"/>
                  </a:lnTo>
                  <a:lnTo>
                    <a:pt x="70" y="119"/>
                  </a:lnTo>
                  <a:lnTo>
                    <a:pt x="63" y="97"/>
                  </a:lnTo>
                  <a:lnTo>
                    <a:pt x="72" y="87"/>
                  </a:lnTo>
                  <a:lnTo>
                    <a:pt x="101" y="87"/>
                  </a:lnTo>
                  <a:lnTo>
                    <a:pt x="107" y="73"/>
                  </a:lnTo>
                  <a:lnTo>
                    <a:pt x="95" y="50"/>
                  </a:lnTo>
                  <a:lnTo>
                    <a:pt x="85" y="37"/>
                  </a:lnTo>
                  <a:lnTo>
                    <a:pt x="48" y="27"/>
                  </a:lnTo>
                  <a:lnTo>
                    <a:pt x="36" y="0"/>
                  </a:lnTo>
                  <a:lnTo>
                    <a:pt x="7" y="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3" name="Freeform 321"/>
            <p:cNvSpPr>
              <a:spLocks/>
            </p:cNvSpPr>
            <p:nvPr/>
          </p:nvSpPr>
          <p:spPr bwMode="auto">
            <a:xfrm rot="730076">
              <a:off x="4300860" y="3255070"/>
              <a:ext cx="331803" cy="268036"/>
            </a:xfrm>
            <a:custGeom>
              <a:avLst/>
              <a:gdLst>
                <a:gd name="T0" fmla="*/ 2147483646 w 10000"/>
                <a:gd name="T1" fmla="*/ 2147483646 h 10009"/>
                <a:gd name="T2" fmla="*/ 2147483646 w 10000"/>
                <a:gd name="T3" fmla="*/ 2147483646 h 10009"/>
                <a:gd name="T4" fmla="*/ 2147483646 w 10000"/>
                <a:gd name="T5" fmla="*/ 2147483646 h 10009"/>
                <a:gd name="T6" fmla="*/ 2147483646 w 10000"/>
                <a:gd name="T7" fmla="*/ 2147483646 h 10009"/>
                <a:gd name="T8" fmla="*/ 2147483646 w 10000"/>
                <a:gd name="T9" fmla="*/ 2147483646 h 10009"/>
                <a:gd name="T10" fmla="*/ 2147483646 w 10000"/>
                <a:gd name="T11" fmla="*/ 2147483646 h 10009"/>
                <a:gd name="T12" fmla="*/ 2147483646 w 10000"/>
                <a:gd name="T13" fmla="*/ 2147483646 h 10009"/>
                <a:gd name="T14" fmla="*/ 2147483646 w 10000"/>
                <a:gd name="T15" fmla="*/ 2147483646 h 10009"/>
                <a:gd name="T16" fmla="*/ 2147483646 w 10000"/>
                <a:gd name="T17" fmla="*/ 2147483646 h 10009"/>
                <a:gd name="T18" fmla="*/ 2147483646 w 10000"/>
                <a:gd name="T19" fmla="*/ 2147483646 h 10009"/>
                <a:gd name="T20" fmla="*/ 0 w 10000"/>
                <a:gd name="T21" fmla="*/ 2147483646 h 10009"/>
                <a:gd name="T22" fmla="*/ 2147483646 w 10000"/>
                <a:gd name="T23" fmla="*/ 2147483646 h 10009"/>
                <a:gd name="T24" fmla="*/ 2147483646 w 10000"/>
                <a:gd name="T25" fmla="*/ 2147483646 h 10009"/>
                <a:gd name="T26" fmla="*/ 2147483646 w 10000"/>
                <a:gd name="T27" fmla="*/ 2147483646 h 10009"/>
                <a:gd name="T28" fmla="*/ 2147483646 w 10000"/>
                <a:gd name="T29" fmla="*/ 2147483646 h 10009"/>
                <a:gd name="T30" fmla="*/ 2147483646 w 10000"/>
                <a:gd name="T31" fmla="*/ 2147483646 h 10009"/>
                <a:gd name="T32" fmla="*/ 2147483646 w 10000"/>
                <a:gd name="T33" fmla="*/ 2147483646 h 10009"/>
                <a:gd name="T34" fmla="*/ 2147483646 w 10000"/>
                <a:gd name="T35" fmla="*/ 2147483646 h 10009"/>
                <a:gd name="T36" fmla="*/ 2147483646 w 10000"/>
                <a:gd name="T37" fmla="*/ 2147483646 h 10009"/>
                <a:gd name="T38" fmla="*/ 2147483646 w 10000"/>
                <a:gd name="T39" fmla="*/ 2147483646 h 10009"/>
                <a:gd name="T40" fmla="*/ 2147483646 w 10000"/>
                <a:gd name="T41" fmla="*/ 2147483646 h 10009"/>
                <a:gd name="T42" fmla="*/ 2147483646 w 10000"/>
                <a:gd name="T43" fmla="*/ 2147483646 h 10009"/>
                <a:gd name="T44" fmla="*/ 2147483646 w 10000"/>
                <a:gd name="T45" fmla="*/ 2147483646 h 10009"/>
                <a:gd name="T46" fmla="*/ 2147483646 w 10000"/>
                <a:gd name="T47" fmla="*/ 2147483646 h 10009"/>
                <a:gd name="T48" fmla="*/ 2147483646 w 10000"/>
                <a:gd name="T49" fmla="*/ 2147483646 h 10009"/>
                <a:gd name="T50" fmla="*/ 2147483646 w 10000"/>
                <a:gd name="T51" fmla="*/ 2147483646 h 10009"/>
                <a:gd name="T52" fmla="*/ 2147483646 w 10000"/>
                <a:gd name="T53" fmla="*/ 2147483646 h 10009"/>
                <a:gd name="T54" fmla="*/ 2147483646 w 10000"/>
                <a:gd name="T55" fmla="*/ 2147483646 h 10009"/>
                <a:gd name="T56" fmla="*/ 2147483646 w 10000"/>
                <a:gd name="T57" fmla="*/ 2147483646 h 10009"/>
                <a:gd name="T58" fmla="*/ 2147483646 w 10000"/>
                <a:gd name="T59" fmla="*/ 2147483646 h 10009"/>
                <a:gd name="T60" fmla="*/ 2147483646 w 10000"/>
                <a:gd name="T61" fmla="*/ 2147483646 h 10009"/>
                <a:gd name="T62" fmla="*/ 2147483646 w 10000"/>
                <a:gd name="T63" fmla="*/ 2147483646 h 10009"/>
                <a:gd name="T64" fmla="*/ 2147483646 w 10000"/>
                <a:gd name="T65" fmla="*/ 2147483646 h 10009"/>
                <a:gd name="T66" fmla="*/ 2147483646 w 10000"/>
                <a:gd name="T67" fmla="*/ 2147483646 h 10009"/>
                <a:gd name="T68" fmla="*/ 2147483646 w 10000"/>
                <a:gd name="T69" fmla="*/ 2147483646 h 10009"/>
                <a:gd name="T70" fmla="*/ 2147483646 w 10000"/>
                <a:gd name="T71" fmla="*/ 2147483646 h 10009"/>
                <a:gd name="T72" fmla="*/ 2147483646 w 10000"/>
                <a:gd name="T73" fmla="*/ 2147483646 h 10009"/>
                <a:gd name="T74" fmla="*/ 2147483646 w 10000"/>
                <a:gd name="T75" fmla="*/ 2147483646 h 10009"/>
                <a:gd name="T76" fmla="*/ 2147483646 w 10000"/>
                <a:gd name="T77" fmla="*/ 2147483646 h 10009"/>
                <a:gd name="T78" fmla="*/ 2147483646 w 10000"/>
                <a:gd name="T79" fmla="*/ 2147483646 h 10009"/>
                <a:gd name="T80" fmla="*/ 2147483646 w 10000"/>
                <a:gd name="T81" fmla="*/ 2147483646 h 1000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9">
                  <a:moveTo>
                    <a:pt x="9121" y="1479"/>
                  </a:moveTo>
                  <a:cubicBezTo>
                    <a:pt x="8949" y="1545"/>
                    <a:pt x="8960" y="1470"/>
                    <a:pt x="8734" y="1437"/>
                  </a:cubicBezTo>
                  <a:cubicBezTo>
                    <a:pt x="8508" y="1404"/>
                    <a:pt x="8010" y="1295"/>
                    <a:pt x="7765" y="1279"/>
                  </a:cubicBezTo>
                  <a:cubicBezTo>
                    <a:pt x="7520" y="1263"/>
                    <a:pt x="7390" y="1332"/>
                    <a:pt x="7261" y="1342"/>
                  </a:cubicBezTo>
                  <a:cubicBezTo>
                    <a:pt x="7132" y="1353"/>
                    <a:pt x="7098" y="1443"/>
                    <a:pt x="6991" y="1342"/>
                  </a:cubicBezTo>
                  <a:cubicBezTo>
                    <a:pt x="6884" y="1241"/>
                    <a:pt x="6742" y="937"/>
                    <a:pt x="6618" y="734"/>
                  </a:cubicBezTo>
                  <a:cubicBezTo>
                    <a:pt x="5577" y="492"/>
                    <a:pt x="4284" y="74"/>
                    <a:pt x="3495" y="9"/>
                  </a:cubicBezTo>
                  <a:cubicBezTo>
                    <a:pt x="2706" y="-56"/>
                    <a:pt x="2420" y="231"/>
                    <a:pt x="1882" y="342"/>
                  </a:cubicBezTo>
                  <a:lnTo>
                    <a:pt x="1345" y="9"/>
                  </a:lnTo>
                  <a:lnTo>
                    <a:pt x="806" y="342"/>
                  </a:lnTo>
                  <a:cubicBezTo>
                    <a:pt x="806" y="342"/>
                    <a:pt x="268" y="1009"/>
                    <a:pt x="0" y="1009"/>
                  </a:cubicBezTo>
                  <a:lnTo>
                    <a:pt x="538" y="2676"/>
                  </a:lnTo>
                  <a:lnTo>
                    <a:pt x="1076" y="2009"/>
                  </a:lnTo>
                  <a:lnTo>
                    <a:pt x="2151" y="2342"/>
                  </a:lnTo>
                  <a:lnTo>
                    <a:pt x="2421" y="2676"/>
                  </a:lnTo>
                  <a:lnTo>
                    <a:pt x="2688" y="3009"/>
                  </a:lnTo>
                  <a:cubicBezTo>
                    <a:pt x="2600" y="3342"/>
                    <a:pt x="2510" y="3676"/>
                    <a:pt x="2421" y="4009"/>
                  </a:cubicBezTo>
                  <a:cubicBezTo>
                    <a:pt x="2330" y="4565"/>
                    <a:pt x="2241" y="5120"/>
                    <a:pt x="2151" y="5676"/>
                  </a:cubicBezTo>
                  <a:cubicBezTo>
                    <a:pt x="2062" y="6009"/>
                    <a:pt x="1971" y="6343"/>
                    <a:pt x="1882" y="6676"/>
                  </a:cubicBezTo>
                  <a:lnTo>
                    <a:pt x="1882" y="7342"/>
                  </a:lnTo>
                  <a:cubicBezTo>
                    <a:pt x="1882" y="7482"/>
                    <a:pt x="1889" y="7241"/>
                    <a:pt x="1884" y="7517"/>
                  </a:cubicBezTo>
                  <a:cubicBezTo>
                    <a:pt x="1879" y="7793"/>
                    <a:pt x="1882" y="7594"/>
                    <a:pt x="1882" y="7676"/>
                  </a:cubicBezTo>
                  <a:lnTo>
                    <a:pt x="1882" y="8009"/>
                  </a:lnTo>
                  <a:cubicBezTo>
                    <a:pt x="1792" y="8342"/>
                    <a:pt x="1703" y="8676"/>
                    <a:pt x="1613" y="9009"/>
                  </a:cubicBezTo>
                  <a:lnTo>
                    <a:pt x="2151" y="9009"/>
                  </a:lnTo>
                  <a:lnTo>
                    <a:pt x="3227" y="10009"/>
                  </a:lnTo>
                  <a:lnTo>
                    <a:pt x="4840" y="9342"/>
                  </a:lnTo>
                  <a:lnTo>
                    <a:pt x="6453" y="9009"/>
                  </a:lnTo>
                  <a:lnTo>
                    <a:pt x="7261" y="7676"/>
                  </a:lnTo>
                  <a:lnTo>
                    <a:pt x="8067" y="6342"/>
                  </a:lnTo>
                  <a:cubicBezTo>
                    <a:pt x="8067" y="6120"/>
                    <a:pt x="7941" y="6082"/>
                    <a:pt x="8067" y="5676"/>
                  </a:cubicBezTo>
                  <a:cubicBezTo>
                    <a:pt x="8193" y="5270"/>
                    <a:pt x="8503" y="4112"/>
                    <a:pt x="8822" y="3908"/>
                  </a:cubicBezTo>
                  <a:cubicBezTo>
                    <a:pt x="9185" y="3676"/>
                    <a:pt x="9126" y="3756"/>
                    <a:pt x="9189" y="3701"/>
                  </a:cubicBezTo>
                  <a:cubicBezTo>
                    <a:pt x="9252" y="3646"/>
                    <a:pt x="9284" y="3569"/>
                    <a:pt x="9318" y="3593"/>
                  </a:cubicBezTo>
                  <a:cubicBezTo>
                    <a:pt x="9388" y="3534"/>
                    <a:pt x="9296" y="3577"/>
                    <a:pt x="9415" y="3493"/>
                  </a:cubicBezTo>
                  <a:cubicBezTo>
                    <a:pt x="9534" y="3409"/>
                    <a:pt x="9908" y="3137"/>
                    <a:pt x="9969" y="2847"/>
                  </a:cubicBezTo>
                  <a:cubicBezTo>
                    <a:pt x="10030" y="2557"/>
                    <a:pt x="10018" y="1949"/>
                    <a:pt x="9783" y="1752"/>
                  </a:cubicBezTo>
                  <a:cubicBezTo>
                    <a:pt x="9774" y="1701"/>
                    <a:pt x="9763" y="1649"/>
                    <a:pt x="9754" y="1598"/>
                  </a:cubicBezTo>
                  <a:cubicBezTo>
                    <a:pt x="9738" y="1593"/>
                    <a:pt x="9576" y="1599"/>
                    <a:pt x="9561" y="1594"/>
                  </a:cubicBezTo>
                  <a:lnTo>
                    <a:pt x="9121" y="1479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4" name="Freeform 322"/>
            <p:cNvSpPr>
              <a:spLocks/>
            </p:cNvSpPr>
            <p:nvPr/>
          </p:nvSpPr>
          <p:spPr bwMode="auto">
            <a:xfrm rot="926903">
              <a:off x="4309630" y="3273140"/>
              <a:ext cx="83316" cy="188227"/>
            </a:xfrm>
            <a:custGeom>
              <a:avLst/>
              <a:gdLst>
                <a:gd name="T0" fmla="*/ 2147483646 w 10000"/>
                <a:gd name="T1" fmla="*/ 2147483646 h 10437"/>
                <a:gd name="T2" fmla="*/ 2147483646 w 10000"/>
                <a:gd name="T3" fmla="*/ 2147483646 h 10437"/>
                <a:gd name="T4" fmla="*/ 2147483646 w 10000"/>
                <a:gd name="T5" fmla="*/ 2147483646 h 10437"/>
                <a:gd name="T6" fmla="*/ 2147483646 w 10000"/>
                <a:gd name="T7" fmla="*/ 2147483646 h 10437"/>
                <a:gd name="T8" fmla="*/ 2147483646 w 10000"/>
                <a:gd name="T9" fmla="*/ 2147483646 h 10437"/>
                <a:gd name="T10" fmla="*/ 2147483646 w 10000"/>
                <a:gd name="T11" fmla="*/ 2147483646 h 10437"/>
                <a:gd name="T12" fmla="*/ 2147483646 w 10000"/>
                <a:gd name="T13" fmla="*/ 2147483646 h 10437"/>
                <a:gd name="T14" fmla="*/ 2147483646 w 10000"/>
                <a:gd name="T15" fmla="*/ 2147483646 h 10437"/>
                <a:gd name="T16" fmla="*/ 2147483646 w 10000"/>
                <a:gd name="T17" fmla="*/ 2147483646 h 10437"/>
                <a:gd name="T18" fmla="*/ 2147483646 w 10000"/>
                <a:gd name="T19" fmla="*/ 2147483646 h 10437"/>
                <a:gd name="T20" fmla="*/ 2147483646 w 10000"/>
                <a:gd name="T21" fmla="*/ 2147483646 h 10437"/>
                <a:gd name="T22" fmla="*/ 2147483646 w 10000"/>
                <a:gd name="T23" fmla="*/ 0 h 10437"/>
                <a:gd name="T24" fmla="*/ 2147483646 w 10000"/>
                <a:gd name="T25" fmla="*/ 2147483646 h 10437"/>
                <a:gd name="T26" fmla="*/ 2147483646 w 10000"/>
                <a:gd name="T27" fmla="*/ 2147483646 h 10437"/>
                <a:gd name="T28" fmla="*/ 2147483646 w 10000"/>
                <a:gd name="T29" fmla="*/ 2147483646 h 10437"/>
                <a:gd name="T30" fmla="*/ 2147483646 w 10000"/>
                <a:gd name="T31" fmla="*/ 2147483646 h 10437"/>
                <a:gd name="T32" fmla="*/ 2147483646 w 10000"/>
                <a:gd name="T33" fmla="*/ 2147483646 h 10437"/>
                <a:gd name="T34" fmla="*/ 1141210027 w 10000"/>
                <a:gd name="T35" fmla="*/ 2147483646 h 10437"/>
                <a:gd name="T36" fmla="*/ 0 w 10000"/>
                <a:gd name="T37" fmla="*/ 2147483646 h 10437"/>
                <a:gd name="T38" fmla="*/ 2147483646 w 10000"/>
                <a:gd name="T39" fmla="*/ 2147483646 h 10437"/>
                <a:gd name="T40" fmla="*/ 2147483646 w 10000"/>
                <a:gd name="T41" fmla="*/ 2147483646 h 10437"/>
                <a:gd name="T42" fmla="*/ 2147483646 w 10000"/>
                <a:gd name="T43" fmla="*/ 2147483646 h 10437"/>
                <a:gd name="T44" fmla="*/ 2147483646 w 10000"/>
                <a:gd name="T45" fmla="*/ 2147483646 h 10437"/>
                <a:gd name="T46" fmla="*/ 2147483646 w 10000"/>
                <a:gd name="T47" fmla="*/ 2147483646 h 10437"/>
                <a:gd name="T48" fmla="*/ 2147483646 w 10000"/>
                <a:gd name="T49" fmla="*/ 2147483646 h 10437"/>
                <a:gd name="T50" fmla="*/ 2147483646 w 10000"/>
                <a:gd name="T51" fmla="*/ 2147483646 h 104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000" h="10437">
                  <a:moveTo>
                    <a:pt x="7000" y="8110"/>
                  </a:moveTo>
                  <a:lnTo>
                    <a:pt x="7000" y="7638"/>
                  </a:lnTo>
                  <a:cubicBezTo>
                    <a:pt x="7083" y="7334"/>
                    <a:pt x="7165" y="7030"/>
                    <a:pt x="7248" y="6726"/>
                  </a:cubicBezTo>
                  <a:lnTo>
                    <a:pt x="8000" y="5748"/>
                  </a:lnTo>
                  <a:lnTo>
                    <a:pt x="8000" y="5276"/>
                  </a:lnTo>
                  <a:cubicBezTo>
                    <a:pt x="8101" y="4899"/>
                    <a:pt x="8203" y="4522"/>
                    <a:pt x="8304" y="4145"/>
                  </a:cubicBezTo>
                  <a:lnTo>
                    <a:pt x="9000" y="3386"/>
                  </a:lnTo>
                  <a:cubicBezTo>
                    <a:pt x="9050" y="3079"/>
                    <a:pt x="9101" y="2772"/>
                    <a:pt x="9151" y="2465"/>
                  </a:cubicBezTo>
                  <a:lnTo>
                    <a:pt x="10000" y="1496"/>
                  </a:lnTo>
                  <a:lnTo>
                    <a:pt x="9000" y="1024"/>
                  </a:lnTo>
                  <a:lnTo>
                    <a:pt x="8000" y="472"/>
                  </a:lnTo>
                  <a:lnTo>
                    <a:pt x="5000" y="0"/>
                  </a:lnTo>
                  <a:lnTo>
                    <a:pt x="3000" y="472"/>
                  </a:lnTo>
                  <a:lnTo>
                    <a:pt x="2000" y="1024"/>
                  </a:lnTo>
                  <a:lnTo>
                    <a:pt x="1235" y="1429"/>
                  </a:lnTo>
                  <a:lnTo>
                    <a:pt x="2000" y="2913"/>
                  </a:lnTo>
                  <a:lnTo>
                    <a:pt x="2000" y="4803"/>
                  </a:lnTo>
                  <a:lnTo>
                    <a:pt x="229" y="6206"/>
                  </a:lnTo>
                  <a:cubicBezTo>
                    <a:pt x="153" y="6526"/>
                    <a:pt x="76" y="6845"/>
                    <a:pt x="0" y="7165"/>
                  </a:cubicBezTo>
                  <a:lnTo>
                    <a:pt x="650" y="7719"/>
                  </a:lnTo>
                  <a:lnTo>
                    <a:pt x="2000" y="7638"/>
                  </a:lnTo>
                  <a:lnTo>
                    <a:pt x="1133" y="10397"/>
                  </a:lnTo>
                  <a:lnTo>
                    <a:pt x="6483" y="10437"/>
                  </a:lnTo>
                  <a:cubicBezTo>
                    <a:pt x="6656" y="10000"/>
                    <a:pt x="7005" y="9867"/>
                    <a:pt x="7178" y="9430"/>
                  </a:cubicBezTo>
                  <a:cubicBezTo>
                    <a:pt x="7119" y="9305"/>
                    <a:pt x="7059" y="9180"/>
                    <a:pt x="7000" y="9055"/>
                  </a:cubicBezTo>
                  <a:lnTo>
                    <a:pt x="7000" y="8110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5" name="Freeform 341"/>
            <p:cNvSpPr>
              <a:spLocks/>
            </p:cNvSpPr>
            <p:nvPr/>
          </p:nvSpPr>
          <p:spPr bwMode="auto">
            <a:xfrm>
              <a:off x="4797833" y="3154180"/>
              <a:ext cx="175402" cy="79809"/>
            </a:xfrm>
            <a:custGeom>
              <a:avLst/>
              <a:gdLst>
                <a:gd name="T0" fmla="*/ 2147483646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0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2147483646 h 10000"/>
                <a:gd name="T20" fmla="*/ 2147483646 w 10000"/>
                <a:gd name="T21" fmla="*/ 2147483646 h 10000"/>
                <a:gd name="T22" fmla="*/ 2147483646 w 10000"/>
                <a:gd name="T23" fmla="*/ 2147483646 h 10000"/>
                <a:gd name="T24" fmla="*/ 2147483646 w 10000"/>
                <a:gd name="T25" fmla="*/ 2147483646 h 10000"/>
                <a:gd name="T26" fmla="*/ 2147483646 w 10000"/>
                <a:gd name="T27" fmla="*/ 2147483646 h 10000"/>
                <a:gd name="T28" fmla="*/ 2147483646 w 10000"/>
                <a:gd name="T29" fmla="*/ 2147483646 h 10000"/>
                <a:gd name="T30" fmla="*/ 2147483646 w 10000"/>
                <a:gd name="T31" fmla="*/ 2147483646 h 10000"/>
                <a:gd name="T32" fmla="*/ 2147483646 w 10000"/>
                <a:gd name="T33" fmla="*/ 2147483646 h 10000"/>
                <a:gd name="T34" fmla="*/ 0 w 10000"/>
                <a:gd name="T35" fmla="*/ 2147483646 h 10000"/>
                <a:gd name="T36" fmla="*/ 2147483646 w 10000"/>
                <a:gd name="T37" fmla="*/ 2147483646 h 10000"/>
                <a:gd name="T38" fmla="*/ 2147483646 w 10000"/>
                <a:gd name="T39" fmla="*/ 2147483646 h 10000"/>
                <a:gd name="T40" fmla="*/ 2147483646 w 10000"/>
                <a:gd name="T41" fmla="*/ 2147483646 h 10000"/>
                <a:gd name="T42" fmla="*/ 2147483646 w 10000"/>
                <a:gd name="T43" fmla="*/ 2147483646 h 10000"/>
                <a:gd name="T44" fmla="*/ 2147483646 w 10000"/>
                <a:gd name="T45" fmla="*/ 2147483646 h 10000"/>
                <a:gd name="T46" fmla="*/ 2147483646 w 10000"/>
                <a:gd name="T47" fmla="*/ 2147483646 h 10000"/>
                <a:gd name="T48" fmla="*/ 2147483646 w 10000"/>
                <a:gd name="T49" fmla="*/ 2147483646 h 10000"/>
                <a:gd name="T50" fmla="*/ 2147483646 w 10000"/>
                <a:gd name="T51" fmla="*/ 2147483646 h 10000"/>
                <a:gd name="T52" fmla="*/ 2147483646 w 10000"/>
                <a:gd name="T53" fmla="*/ 2147483646 h 10000"/>
                <a:gd name="T54" fmla="*/ 2147483646 w 10000"/>
                <a:gd name="T55" fmla="*/ 2147483646 h 10000"/>
                <a:gd name="T56" fmla="*/ 2147483646 w 10000"/>
                <a:gd name="T57" fmla="*/ 2147483646 h 1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000" h="10000">
                  <a:moveTo>
                    <a:pt x="9583" y="5455"/>
                  </a:moveTo>
                  <a:lnTo>
                    <a:pt x="10000" y="3636"/>
                  </a:lnTo>
                  <a:lnTo>
                    <a:pt x="9583" y="1818"/>
                  </a:lnTo>
                  <a:lnTo>
                    <a:pt x="9583" y="909"/>
                  </a:lnTo>
                  <a:lnTo>
                    <a:pt x="9167" y="909"/>
                  </a:lnTo>
                  <a:lnTo>
                    <a:pt x="7500" y="0"/>
                  </a:lnTo>
                  <a:lnTo>
                    <a:pt x="7083" y="909"/>
                  </a:lnTo>
                  <a:lnTo>
                    <a:pt x="5833" y="909"/>
                  </a:lnTo>
                  <a:lnTo>
                    <a:pt x="5417" y="1818"/>
                  </a:lnTo>
                  <a:lnTo>
                    <a:pt x="4583" y="2727"/>
                  </a:lnTo>
                  <a:lnTo>
                    <a:pt x="5000" y="4545"/>
                  </a:lnTo>
                  <a:cubicBezTo>
                    <a:pt x="5000" y="4545"/>
                    <a:pt x="5000" y="5455"/>
                    <a:pt x="4583" y="5455"/>
                  </a:cubicBezTo>
                  <a:lnTo>
                    <a:pt x="4167" y="5455"/>
                  </a:lnTo>
                  <a:lnTo>
                    <a:pt x="2500" y="6364"/>
                  </a:lnTo>
                  <a:lnTo>
                    <a:pt x="1667" y="6364"/>
                  </a:lnTo>
                  <a:lnTo>
                    <a:pt x="417" y="6364"/>
                  </a:lnTo>
                  <a:lnTo>
                    <a:pt x="0" y="6364"/>
                  </a:lnTo>
                  <a:lnTo>
                    <a:pt x="417" y="7273"/>
                  </a:lnTo>
                  <a:lnTo>
                    <a:pt x="1250" y="9091"/>
                  </a:lnTo>
                  <a:lnTo>
                    <a:pt x="1667" y="10000"/>
                  </a:lnTo>
                  <a:lnTo>
                    <a:pt x="2083" y="9091"/>
                  </a:lnTo>
                  <a:lnTo>
                    <a:pt x="3750" y="9091"/>
                  </a:lnTo>
                  <a:lnTo>
                    <a:pt x="5417" y="10000"/>
                  </a:lnTo>
                  <a:lnTo>
                    <a:pt x="5833" y="10000"/>
                  </a:lnTo>
                  <a:lnTo>
                    <a:pt x="7500" y="10000"/>
                  </a:lnTo>
                  <a:lnTo>
                    <a:pt x="8750" y="8182"/>
                  </a:lnTo>
                  <a:lnTo>
                    <a:pt x="9167" y="8182"/>
                  </a:lnTo>
                  <a:cubicBezTo>
                    <a:pt x="9306" y="7273"/>
                    <a:pt x="9444" y="6364"/>
                    <a:pt x="9583" y="5455"/>
                  </a:cubicBez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6" name="Freeform 342"/>
            <p:cNvSpPr>
              <a:spLocks/>
            </p:cNvSpPr>
            <p:nvPr/>
          </p:nvSpPr>
          <p:spPr bwMode="auto">
            <a:xfrm rot="471028">
              <a:off x="4496726" y="3054795"/>
              <a:ext cx="280644" cy="278578"/>
            </a:xfrm>
            <a:custGeom>
              <a:avLst/>
              <a:gdLst>
                <a:gd name="T0" fmla="*/ 2147483646 w 10043"/>
                <a:gd name="T1" fmla="*/ 2147483646 h 10000"/>
                <a:gd name="T2" fmla="*/ 2147483646 w 10043"/>
                <a:gd name="T3" fmla="*/ 2147483646 h 10000"/>
                <a:gd name="T4" fmla="*/ 2147483646 w 10043"/>
                <a:gd name="T5" fmla="*/ 2147483646 h 10000"/>
                <a:gd name="T6" fmla="*/ 2147483646 w 10043"/>
                <a:gd name="T7" fmla="*/ 2147483646 h 10000"/>
                <a:gd name="T8" fmla="*/ 2147483646 w 10043"/>
                <a:gd name="T9" fmla="*/ 2147483646 h 10000"/>
                <a:gd name="T10" fmla="*/ 2147483646 w 10043"/>
                <a:gd name="T11" fmla="*/ 2147483646 h 10000"/>
                <a:gd name="T12" fmla="*/ 2147483646 w 10043"/>
                <a:gd name="T13" fmla="*/ 2147483646 h 10000"/>
                <a:gd name="T14" fmla="*/ 2147483646 w 10043"/>
                <a:gd name="T15" fmla="*/ 2147483646 h 10000"/>
                <a:gd name="T16" fmla="*/ 2147483646 w 10043"/>
                <a:gd name="T17" fmla="*/ 2147483646 h 10000"/>
                <a:gd name="T18" fmla="*/ 2147483646 w 10043"/>
                <a:gd name="T19" fmla="*/ 2147483646 h 10000"/>
                <a:gd name="T20" fmla="*/ 2147483646 w 10043"/>
                <a:gd name="T21" fmla="*/ 2147483646 h 10000"/>
                <a:gd name="T22" fmla="*/ 2147483646 w 10043"/>
                <a:gd name="T23" fmla="*/ 2147483646 h 10000"/>
                <a:gd name="T24" fmla="*/ 2147483646 w 10043"/>
                <a:gd name="T25" fmla="*/ 2147483646 h 10000"/>
                <a:gd name="T26" fmla="*/ 2147483646 w 10043"/>
                <a:gd name="T27" fmla="*/ 2147483646 h 10000"/>
                <a:gd name="T28" fmla="*/ 2147483646 w 10043"/>
                <a:gd name="T29" fmla="*/ 2147483646 h 10000"/>
                <a:gd name="T30" fmla="*/ 2147483646 w 10043"/>
                <a:gd name="T31" fmla="*/ 2147483646 h 10000"/>
                <a:gd name="T32" fmla="*/ 2147483646 w 10043"/>
                <a:gd name="T33" fmla="*/ 2147483646 h 10000"/>
                <a:gd name="T34" fmla="*/ 2147483646 w 10043"/>
                <a:gd name="T35" fmla="*/ 2147483646 h 10000"/>
                <a:gd name="T36" fmla="*/ 2147483646 w 10043"/>
                <a:gd name="T37" fmla="*/ 2147483646 h 10000"/>
                <a:gd name="T38" fmla="*/ 2147483646 w 10043"/>
                <a:gd name="T39" fmla="*/ 2147483646 h 10000"/>
                <a:gd name="T40" fmla="*/ 2147483646 w 10043"/>
                <a:gd name="T41" fmla="*/ 0 h 10000"/>
                <a:gd name="T42" fmla="*/ 2147483646 w 10043"/>
                <a:gd name="T43" fmla="*/ 2147483646 h 10000"/>
                <a:gd name="T44" fmla="*/ 2147483646 w 10043"/>
                <a:gd name="T45" fmla="*/ 2147483646 h 10000"/>
                <a:gd name="T46" fmla="*/ 2147483646 w 10043"/>
                <a:gd name="T47" fmla="*/ 2147483646 h 10000"/>
                <a:gd name="T48" fmla="*/ 2147483646 w 10043"/>
                <a:gd name="T49" fmla="*/ 2147483646 h 10000"/>
                <a:gd name="T50" fmla="*/ 2147483646 w 10043"/>
                <a:gd name="T51" fmla="*/ 2147483646 h 10000"/>
                <a:gd name="T52" fmla="*/ 2147483646 w 10043"/>
                <a:gd name="T53" fmla="*/ 2147483646 h 10000"/>
                <a:gd name="T54" fmla="*/ 2147483646 w 10043"/>
                <a:gd name="T55" fmla="*/ 2147483646 h 10000"/>
                <a:gd name="T56" fmla="*/ 2147483646 w 10043"/>
                <a:gd name="T57" fmla="*/ 2147483646 h 10000"/>
                <a:gd name="T58" fmla="*/ 2147483646 w 10043"/>
                <a:gd name="T59" fmla="*/ 2147483646 h 10000"/>
                <a:gd name="T60" fmla="*/ 2147483646 w 10043"/>
                <a:gd name="T61" fmla="*/ 2147483646 h 10000"/>
                <a:gd name="T62" fmla="*/ 2147483646 w 10043"/>
                <a:gd name="T63" fmla="*/ 2147483646 h 10000"/>
                <a:gd name="T64" fmla="*/ 2147483646 w 10043"/>
                <a:gd name="T65" fmla="*/ 2147483646 h 10000"/>
                <a:gd name="T66" fmla="*/ 2147483646 w 10043"/>
                <a:gd name="T67" fmla="*/ 2147483646 h 10000"/>
                <a:gd name="T68" fmla="*/ 2147483646 w 10043"/>
                <a:gd name="T69" fmla="*/ 2147483646 h 10000"/>
                <a:gd name="T70" fmla="*/ 2147483646 w 10043"/>
                <a:gd name="T71" fmla="*/ 2147483646 h 10000"/>
                <a:gd name="T72" fmla="*/ 2147483646 w 10043"/>
                <a:gd name="T73" fmla="*/ 2147483646 h 10000"/>
                <a:gd name="T74" fmla="*/ 2147483646 w 10043"/>
                <a:gd name="T75" fmla="*/ 2147483646 h 10000"/>
                <a:gd name="T76" fmla="*/ 2147483646 w 10043"/>
                <a:gd name="T77" fmla="*/ 2147483646 h 10000"/>
                <a:gd name="T78" fmla="*/ 2147483646 w 10043"/>
                <a:gd name="T79" fmla="*/ 2147483646 h 10000"/>
                <a:gd name="T80" fmla="*/ 2147483646 w 10043"/>
                <a:gd name="T81" fmla="*/ 2147483646 h 10000"/>
                <a:gd name="T82" fmla="*/ 2147483646 w 10043"/>
                <a:gd name="T83" fmla="*/ 2147483646 h 10000"/>
                <a:gd name="T84" fmla="*/ 2147483646 w 10043"/>
                <a:gd name="T85" fmla="*/ 2147483646 h 10000"/>
                <a:gd name="T86" fmla="*/ 2147483646 w 10043"/>
                <a:gd name="T87" fmla="*/ 2147483646 h 10000"/>
                <a:gd name="T88" fmla="*/ 2147483646 w 10043"/>
                <a:gd name="T89" fmla="*/ 2147483646 h 10000"/>
                <a:gd name="T90" fmla="*/ 2147483646 w 10043"/>
                <a:gd name="T91" fmla="*/ 2147483646 h 10000"/>
                <a:gd name="T92" fmla="*/ 2147483646 w 10043"/>
                <a:gd name="T93" fmla="*/ 2147483646 h 10000"/>
                <a:gd name="T94" fmla="*/ 2147483646 w 10043"/>
                <a:gd name="T95" fmla="*/ 2147483646 h 10000"/>
                <a:gd name="T96" fmla="*/ 2147483646 w 10043"/>
                <a:gd name="T97" fmla="*/ 2147483646 h 10000"/>
                <a:gd name="T98" fmla="*/ 2147483646 w 10043"/>
                <a:gd name="T99" fmla="*/ 2147483646 h 10000"/>
                <a:gd name="T100" fmla="*/ 2147483646 w 10043"/>
                <a:gd name="T101" fmla="*/ 2147483646 h 10000"/>
                <a:gd name="T102" fmla="*/ 2147483646 w 10043"/>
                <a:gd name="T103" fmla="*/ 2147483646 h 10000"/>
                <a:gd name="T104" fmla="*/ 2147483646 w 10043"/>
                <a:gd name="T105" fmla="*/ 2147483646 h 10000"/>
                <a:gd name="T106" fmla="*/ 2147483646 w 10043"/>
                <a:gd name="T107" fmla="*/ 2147483646 h 10000"/>
                <a:gd name="T108" fmla="*/ 2147483646 w 10043"/>
                <a:gd name="T109" fmla="*/ 2147483646 h 10000"/>
                <a:gd name="T110" fmla="*/ 2147483646 w 10043"/>
                <a:gd name="T111" fmla="*/ 2147483646 h 10000"/>
                <a:gd name="T112" fmla="*/ 2147483646 w 10043"/>
                <a:gd name="T113" fmla="*/ 2147483646 h 10000"/>
                <a:gd name="T114" fmla="*/ 2147483646 w 10043"/>
                <a:gd name="T115" fmla="*/ 2147483646 h 10000"/>
                <a:gd name="T116" fmla="*/ 2147483646 w 10043"/>
                <a:gd name="T117" fmla="*/ 2147483646 h 10000"/>
                <a:gd name="T118" fmla="*/ 2147483646 w 10043"/>
                <a:gd name="T119" fmla="*/ 2147483646 h 10000"/>
                <a:gd name="T120" fmla="*/ 2147483646 w 10043"/>
                <a:gd name="T121" fmla="*/ 2147483646 h 1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43" h="10000">
                  <a:moveTo>
                    <a:pt x="9119" y="7195"/>
                  </a:moveTo>
                  <a:cubicBezTo>
                    <a:pt x="9204" y="7033"/>
                    <a:pt x="9249" y="6746"/>
                    <a:pt x="9276" y="6559"/>
                  </a:cubicBezTo>
                  <a:cubicBezTo>
                    <a:pt x="9302" y="6372"/>
                    <a:pt x="9276" y="6235"/>
                    <a:pt x="9276" y="6074"/>
                  </a:cubicBezTo>
                  <a:cubicBezTo>
                    <a:pt x="9191" y="5911"/>
                    <a:pt x="9105" y="5750"/>
                    <a:pt x="9020" y="5588"/>
                  </a:cubicBezTo>
                  <a:cubicBezTo>
                    <a:pt x="8849" y="5588"/>
                    <a:pt x="8579" y="5641"/>
                    <a:pt x="8508" y="5588"/>
                  </a:cubicBezTo>
                  <a:cubicBezTo>
                    <a:pt x="8437" y="5534"/>
                    <a:pt x="8566" y="5375"/>
                    <a:pt x="8596" y="5268"/>
                  </a:cubicBezTo>
                  <a:cubicBezTo>
                    <a:pt x="8822" y="4969"/>
                    <a:pt x="9120" y="4562"/>
                    <a:pt x="9276" y="4373"/>
                  </a:cubicBezTo>
                  <a:cubicBezTo>
                    <a:pt x="9431" y="4183"/>
                    <a:pt x="9446" y="4210"/>
                    <a:pt x="9531" y="4129"/>
                  </a:cubicBezTo>
                  <a:lnTo>
                    <a:pt x="9531" y="3158"/>
                  </a:lnTo>
                  <a:lnTo>
                    <a:pt x="10043" y="2672"/>
                  </a:lnTo>
                  <a:lnTo>
                    <a:pt x="9276" y="2429"/>
                  </a:lnTo>
                  <a:lnTo>
                    <a:pt x="8764" y="2186"/>
                  </a:lnTo>
                  <a:lnTo>
                    <a:pt x="7996" y="1943"/>
                  </a:lnTo>
                  <a:lnTo>
                    <a:pt x="7741" y="1700"/>
                  </a:lnTo>
                  <a:lnTo>
                    <a:pt x="7229" y="1457"/>
                  </a:lnTo>
                  <a:lnTo>
                    <a:pt x="6717" y="1215"/>
                  </a:lnTo>
                  <a:lnTo>
                    <a:pt x="6461" y="729"/>
                  </a:lnTo>
                  <a:lnTo>
                    <a:pt x="5950" y="486"/>
                  </a:lnTo>
                  <a:lnTo>
                    <a:pt x="5694" y="0"/>
                  </a:lnTo>
                  <a:lnTo>
                    <a:pt x="5182" y="243"/>
                  </a:lnTo>
                  <a:lnTo>
                    <a:pt x="4671" y="1215"/>
                  </a:lnTo>
                  <a:cubicBezTo>
                    <a:pt x="4586" y="1296"/>
                    <a:pt x="4545" y="1311"/>
                    <a:pt x="4415" y="1457"/>
                  </a:cubicBezTo>
                  <a:cubicBezTo>
                    <a:pt x="4285" y="1603"/>
                    <a:pt x="4129" y="1996"/>
                    <a:pt x="3890" y="2092"/>
                  </a:cubicBezTo>
                  <a:cubicBezTo>
                    <a:pt x="3651" y="2188"/>
                    <a:pt x="3168" y="2108"/>
                    <a:pt x="2979" y="2034"/>
                  </a:cubicBezTo>
                  <a:cubicBezTo>
                    <a:pt x="2790" y="1960"/>
                    <a:pt x="2862" y="1718"/>
                    <a:pt x="2757" y="1649"/>
                  </a:cubicBezTo>
                  <a:cubicBezTo>
                    <a:pt x="2652" y="1580"/>
                    <a:pt x="2418" y="1522"/>
                    <a:pt x="2348" y="1621"/>
                  </a:cubicBezTo>
                  <a:cubicBezTo>
                    <a:pt x="2279" y="1720"/>
                    <a:pt x="2337" y="2029"/>
                    <a:pt x="2340" y="2245"/>
                  </a:cubicBezTo>
                  <a:cubicBezTo>
                    <a:pt x="2343" y="2461"/>
                    <a:pt x="2491" y="2803"/>
                    <a:pt x="2368" y="2915"/>
                  </a:cubicBezTo>
                  <a:cubicBezTo>
                    <a:pt x="2245" y="3027"/>
                    <a:pt x="1781" y="2985"/>
                    <a:pt x="1601" y="2915"/>
                  </a:cubicBezTo>
                  <a:cubicBezTo>
                    <a:pt x="1421" y="2845"/>
                    <a:pt x="1442" y="2545"/>
                    <a:pt x="1289" y="2497"/>
                  </a:cubicBezTo>
                  <a:cubicBezTo>
                    <a:pt x="1136" y="2449"/>
                    <a:pt x="893" y="2584"/>
                    <a:pt x="684" y="2625"/>
                  </a:cubicBezTo>
                  <a:cubicBezTo>
                    <a:pt x="475" y="2666"/>
                    <a:pt x="131" y="2638"/>
                    <a:pt x="33" y="2742"/>
                  </a:cubicBezTo>
                  <a:cubicBezTo>
                    <a:pt x="-65" y="2846"/>
                    <a:pt x="82" y="3088"/>
                    <a:pt x="94" y="3251"/>
                  </a:cubicBezTo>
                  <a:cubicBezTo>
                    <a:pt x="106" y="3414"/>
                    <a:pt x="-17" y="3533"/>
                    <a:pt x="105" y="3720"/>
                  </a:cubicBezTo>
                  <a:cubicBezTo>
                    <a:pt x="228" y="3907"/>
                    <a:pt x="584" y="4264"/>
                    <a:pt x="833" y="4373"/>
                  </a:cubicBezTo>
                  <a:cubicBezTo>
                    <a:pt x="1082" y="4481"/>
                    <a:pt x="1345" y="4373"/>
                    <a:pt x="1601" y="4373"/>
                  </a:cubicBezTo>
                  <a:lnTo>
                    <a:pt x="1856" y="4616"/>
                  </a:lnTo>
                  <a:lnTo>
                    <a:pt x="1856" y="4859"/>
                  </a:lnTo>
                  <a:lnTo>
                    <a:pt x="2112" y="5345"/>
                  </a:lnTo>
                  <a:cubicBezTo>
                    <a:pt x="2197" y="5588"/>
                    <a:pt x="2283" y="5831"/>
                    <a:pt x="2368" y="6074"/>
                  </a:cubicBezTo>
                  <a:lnTo>
                    <a:pt x="2624" y="6316"/>
                  </a:lnTo>
                  <a:cubicBezTo>
                    <a:pt x="2624" y="6559"/>
                    <a:pt x="2696" y="6675"/>
                    <a:pt x="2624" y="7045"/>
                  </a:cubicBezTo>
                  <a:cubicBezTo>
                    <a:pt x="2551" y="7414"/>
                    <a:pt x="2272" y="8240"/>
                    <a:pt x="2188" y="8533"/>
                  </a:cubicBezTo>
                  <a:cubicBezTo>
                    <a:pt x="2104" y="8826"/>
                    <a:pt x="2064" y="8649"/>
                    <a:pt x="2118" y="8804"/>
                  </a:cubicBezTo>
                  <a:cubicBezTo>
                    <a:pt x="2173" y="8958"/>
                    <a:pt x="2390" y="9351"/>
                    <a:pt x="2516" y="9462"/>
                  </a:cubicBezTo>
                  <a:cubicBezTo>
                    <a:pt x="2643" y="9574"/>
                    <a:pt x="2734" y="9472"/>
                    <a:pt x="2880" y="9474"/>
                  </a:cubicBezTo>
                  <a:cubicBezTo>
                    <a:pt x="3025" y="9476"/>
                    <a:pt x="3220" y="9474"/>
                    <a:pt x="3391" y="9474"/>
                  </a:cubicBezTo>
                  <a:lnTo>
                    <a:pt x="4159" y="9717"/>
                  </a:lnTo>
                  <a:lnTo>
                    <a:pt x="4671" y="9717"/>
                  </a:lnTo>
                  <a:lnTo>
                    <a:pt x="5438" y="9960"/>
                  </a:lnTo>
                  <a:cubicBezTo>
                    <a:pt x="5609" y="9960"/>
                    <a:pt x="5793" y="10051"/>
                    <a:pt x="5950" y="9960"/>
                  </a:cubicBezTo>
                  <a:cubicBezTo>
                    <a:pt x="6106" y="9870"/>
                    <a:pt x="6222" y="9506"/>
                    <a:pt x="6375" y="9413"/>
                  </a:cubicBezTo>
                  <a:cubicBezTo>
                    <a:pt x="6529" y="9321"/>
                    <a:pt x="6594" y="9367"/>
                    <a:pt x="6869" y="9401"/>
                  </a:cubicBezTo>
                  <a:cubicBezTo>
                    <a:pt x="7143" y="9436"/>
                    <a:pt x="7722" y="9569"/>
                    <a:pt x="8022" y="9625"/>
                  </a:cubicBezTo>
                  <a:cubicBezTo>
                    <a:pt x="8322" y="9682"/>
                    <a:pt x="8393" y="9858"/>
                    <a:pt x="8668" y="9743"/>
                  </a:cubicBezTo>
                  <a:cubicBezTo>
                    <a:pt x="8942" y="9628"/>
                    <a:pt x="9580" y="8937"/>
                    <a:pt x="9665" y="8937"/>
                  </a:cubicBezTo>
                  <a:lnTo>
                    <a:pt x="9079" y="8091"/>
                  </a:lnTo>
                  <a:cubicBezTo>
                    <a:pt x="9008" y="7886"/>
                    <a:pt x="8985" y="7957"/>
                    <a:pt x="8942" y="7836"/>
                  </a:cubicBezTo>
                  <a:cubicBezTo>
                    <a:pt x="8899" y="7714"/>
                    <a:pt x="9114" y="7387"/>
                    <a:pt x="9119" y="719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7" name="Freeform 343"/>
            <p:cNvSpPr>
              <a:spLocks/>
            </p:cNvSpPr>
            <p:nvPr/>
          </p:nvSpPr>
          <p:spPr bwMode="auto">
            <a:xfrm>
              <a:off x="4734980" y="3221942"/>
              <a:ext cx="286491" cy="299658"/>
            </a:xfrm>
            <a:custGeom>
              <a:avLst/>
              <a:gdLst>
                <a:gd name="T0" fmla="*/ 2147483646 w 154"/>
                <a:gd name="T1" fmla="*/ 2147483646 h 154"/>
                <a:gd name="T2" fmla="*/ 2147483646 w 154"/>
                <a:gd name="T3" fmla="*/ 0 h 154"/>
                <a:gd name="T4" fmla="*/ 2147483646 w 154"/>
                <a:gd name="T5" fmla="*/ 0 h 154"/>
                <a:gd name="T6" fmla="*/ 2147483646 w 154"/>
                <a:gd name="T7" fmla="*/ 2147483646 h 154"/>
                <a:gd name="T8" fmla="*/ 2147483646 w 154"/>
                <a:gd name="T9" fmla="*/ 2147483646 h 154"/>
                <a:gd name="T10" fmla="*/ 2147483646 w 154"/>
                <a:gd name="T11" fmla="*/ 2147483646 h 154"/>
                <a:gd name="T12" fmla="*/ 2147483646 w 154"/>
                <a:gd name="T13" fmla="*/ 2147483646 h 154"/>
                <a:gd name="T14" fmla="*/ 2147483646 w 154"/>
                <a:gd name="T15" fmla="*/ 2147483646 h 154"/>
                <a:gd name="T16" fmla="*/ 2147483646 w 154"/>
                <a:gd name="T17" fmla="*/ 2147483646 h 154"/>
                <a:gd name="T18" fmla="*/ 2147483646 w 154"/>
                <a:gd name="T19" fmla="*/ 2147483646 h 154"/>
                <a:gd name="T20" fmla="*/ 2147483646 w 154"/>
                <a:gd name="T21" fmla="*/ 2147483646 h 154"/>
                <a:gd name="T22" fmla="*/ 0 w 154"/>
                <a:gd name="T23" fmla="*/ 2147483646 h 154"/>
                <a:gd name="T24" fmla="*/ 2147483646 w 154"/>
                <a:gd name="T25" fmla="*/ 2147483646 h 154"/>
                <a:gd name="T26" fmla="*/ 2147483646 w 154"/>
                <a:gd name="T27" fmla="*/ 2147483646 h 154"/>
                <a:gd name="T28" fmla="*/ 2147483646 w 154"/>
                <a:gd name="T29" fmla="*/ 2147483646 h 154"/>
                <a:gd name="T30" fmla="*/ 2147483646 w 154"/>
                <a:gd name="T31" fmla="*/ 2147483646 h 154"/>
                <a:gd name="T32" fmla="*/ 2147483646 w 154"/>
                <a:gd name="T33" fmla="*/ 2147483646 h 154"/>
                <a:gd name="T34" fmla="*/ 2147483646 w 154"/>
                <a:gd name="T35" fmla="*/ 2147483646 h 154"/>
                <a:gd name="T36" fmla="*/ 2147483646 w 154"/>
                <a:gd name="T37" fmla="*/ 2147483646 h 154"/>
                <a:gd name="T38" fmla="*/ 2147483646 w 154"/>
                <a:gd name="T39" fmla="*/ 2147483646 h 154"/>
                <a:gd name="T40" fmla="*/ 2147483646 w 154"/>
                <a:gd name="T41" fmla="*/ 2147483646 h 154"/>
                <a:gd name="T42" fmla="*/ 2147483646 w 154"/>
                <a:gd name="T43" fmla="*/ 2147483646 h 154"/>
                <a:gd name="T44" fmla="*/ 2147483646 w 154"/>
                <a:gd name="T45" fmla="*/ 2147483646 h 154"/>
                <a:gd name="T46" fmla="*/ 2147483646 w 154"/>
                <a:gd name="T47" fmla="*/ 2147483646 h 154"/>
                <a:gd name="T48" fmla="*/ 2147483646 w 154"/>
                <a:gd name="T49" fmla="*/ 2147483646 h 154"/>
                <a:gd name="T50" fmla="*/ 2147483646 w 154"/>
                <a:gd name="T51" fmla="*/ 2147483646 h 154"/>
                <a:gd name="T52" fmla="*/ 2147483646 w 154"/>
                <a:gd name="T53" fmla="*/ 2147483646 h 154"/>
                <a:gd name="T54" fmla="*/ 2147483646 w 154"/>
                <a:gd name="T55" fmla="*/ 2147483646 h 154"/>
                <a:gd name="T56" fmla="*/ 2147483646 w 154"/>
                <a:gd name="T57" fmla="*/ 2147483646 h 154"/>
                <a:gd name="T58" fmla="*/ 2147483646 w 154"/>
                <a:gd name="T59" fmla="*/ 2147483646 h 154"/>
                <a:gd name="T60" fmla="*/ 2147483646 w 154"/>
                <a:gd name="T61" fmla="*/ 2147483646 h 154"/>
                <a:gd name="T62" fmla="*/ 2147483646 w 154"/>
                <a:gd name="T63" fmla="*/ 2147483646 h 154"/>
                <a:gd name="T64" fmla="*/ 2147483646 w 154"/>
                <a:gd name="T65" fmla="*/ 2147483646 h 154"/>
                <a:gd name="T66" fmla="*/ 2147483646 w 154"/>
                <a:gd name="T67" fmla="*/ 2147483646 h 1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4" h="154">
                  <a:moveTo>
                    <a:pt x="87" y="4"/>
                  </a:moveTo>
                  <a:lnTo>
                    <a:pt x="71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6" y="4"/>
                  </a:lnTo>
                  <a:lnTo>
                    <a:pt x="37" y="8"/>
                  </a:lnTo>
                  <a:lnTo>
                    <a:pt x="25" y="12"/>
                  </a:lnTo>
                  <a:lnTo>
                    <a:pt x="21" y="8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25"/>
                  </a:lnTo>
                  <a:lnTo>
                    <a:pt x="0" y="33"/>
                  </a:lnTo>
                  <a:lnTo>
                    <a:pt x="4" y="45"/>
                  </a:lnTo>
                  <a:lnTo>
                    <a:pt x="12" y="54"/>
                  </a:lnTo>
                  <a:lnTo>
                    <a:pt x="21" y="45"/>
                  </a:lnTo>
                  <a:lnTo>
                    <a:pt x="42" y="54"/>
                  </a:lnTo>
                  <a:lnTo>
                    <a:pt x="54" y="78"/>
                  </a:lnTo>
                  <a:lnTo>
                    <a:pt x="67" y="95"/>
                  </a:lnTo>
                  <a:lnTo>
                    <a:pt x="96" y="112"/>
                  </a:lnTo>
                  <a:lnTo>
                    <a:pt x="114" y="126"/>
                  </a:lnTo>
                  <a:lnTo>
                    <a:pt x="106" y="154"/>
                  </a:lnTo>
                  <a:lnTo>
                    <a:pt x="133" y="133"/>
                  </a:lnTo>
                  <a:lnTo>
                    <a:pt x="133" y="120"/>
                  </a:lnTo>
                  <a:lnTo>
                    <a:pt x="146" y="124"/>
                  </a:lnTo>
                  <a:lnTo>
                    <a:pt x="154" y="124"/>
                  </a:lnTo>
                  <a:lnTo>
                    <a:pt x="133" y="104"/>
                  </a:lnTo>
                  <a:lnTo>
                    <a:pt x="117" y="91"/>
                  </a:lnTo>
                  <a:lnTo>
                    <a:pt x="104" y="87"/>
                  </a:lnTo>
                  <a:lnTo>
                    <a:pt x="87" y="58"/>
                  </a:lnTo>
                  <a:lnTo>
                    <a:pt x="79" y="41"/>
                  </a:lnTo>
                  <a:lnTo>
                    <a:pt x="83" y="25"/>
                  </a:lnTo>
                  <a:lnTo>
                    <a:pt x="87" y="25"/>
                  </a:lnTo>
                  <a:lnTo>
                    <a:pt x="87" y="16"/>
                  </a:lnTo>
                  <a:lnTo>
                    <a:pt x="87" y="4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8" name="Freeform 344"/>
            <p:cNvSpPr>
              <a:spLocks/>
            </p:cNvSpPr>
            <p:nvPr/>
          </p:nvSpPr>
          <p:spPr bwMode="auto">
            <a:xfrm>
              <a:off x="4727672" y="2929813"/>
              <a:ext cx="184173" cy="277071"/>
            </a:xfrm>
            <a:custGeom>
              <a:avLst/>
              <a:gdLst>
                <a:gd name="T0" fmla="*/ 2147483646 w 10045"/>
                <a:gd name="T1" fmla="*/ 2147483646 h 10019"/>
                <a:gd name="T2" fmla="*/ 2147483646 w 10045"/>
                <a:gd name="T3" fmla="*/ 2147483646 h 10019"/>
                <a:gd name="T4" fmla="*/ 2147483646 w 10045"/>
                <a:gd name="T5" fmla="*/ 2147483646 h 10019"/>
                <a:gd name="T6" fmla="*/ 2147483646 w 10045"/>
                <a:gd name="T7" fmla="*/ 2147483646 h 10019"/>
                <a:gd name="T8" fmla="*/ 2147483646 w 10045"/>
                <a:gd name="T9" fmla="*/ 2147483646 h 10019"/>
                <a:gd name="T10" fmla="*/ 2147483646 w 10045"/>
                <a:gd name="T11" fmla="*/ 2147483646 h 10019"/>
                <a:gd name="T12" fmla="*/ 2147483646 w 10045"/>
                <a:gd name="T13" fmla="*/ 2147483646 h 10019"/>
                <a:gd name="T14" fmla="*/ 2147483646 w 10045"/>
                <a:gd name="T15" fmla="*/ 2147483646 h 10019"/>
                <a:gd name="T16" fmla="*/ 2147483646 w 10045"/>
                <a:gd name="T17" fmla="*/ 2147483646 h 10019"/>
                <a:gd name="T18" fmla="*/ 0 w 10045"/>
                <a:gd name="T19" fmla="*/ 2147483646 h 10019"/>
                <a:gd name="T20" fmla="*/ 2147483646 w 10045"/>
                <a:gd name="T21" fmla="*/ 2147483646 h 10019"/>
                <a:gd name="T22" fmla="*/ 2147483646 w 10045"/>
                <a:gd name="T23" fmla="*/ 2147483646 h 10019"/>
                <a:gd name="T24" fmla="*/ 2147483646 w 10045"/>
                <a:gd name="T25" fmla="*/ 2147483646 h 10019"/>
                <a:gd name="T26" fmla="*/ 2147483646 w 10045"/>
                <a:gd name="T27" fmla="*/ 2147483646 h 10019"/>
                <a:gd name="T28" fmla="*/ 2147483646 w 10045"/>
                <a:gd name="T29" fmla="*/ 2147483646 h 10019"/>
                <a:gd name="T30" fmla="*/ 2147483646 w 10045"/>
                <a:gd name="T31" fmla="*/ 2147483646 h 10019"/>
                <a:gd name="T32" fmla="*/ 2147483646 w 10045"/>
                <a:gd name="T33" fmla="*/ 2147483646 h 10019"/>
                <a:gd name="T34" fmla="*/ 2147483646 w 10045"/>
                <a:gd name="T35" fmla="*/ 2147483646 h 10019"/>
                <a:gd name="T36" fmla="*/ 2147483646 w 10045"/>
                <a:gd name="T37" fmla="*/ 2147483646 h 10019"/>
                <a:gd name="T38" fmla="*/ 2147483646 w 10045"/>
                <a:gd name="T39" fmla="*/ 2147483646 h 10019"/>
                <a:gd name="T40" fmla="*/ 2147483646 w 10045"/>
                <a:gd name="T41" fmla="*/ 2147483646 h 10019"/>
                <a:gd name="T42" fmla="*/ 2147483646 w 10045"/>
                <a:gd name="T43" fmla="*/ 2147483646 h 10019"/>
                <a:gd name="T44" fmla="*/ 2147483646 w 10045"/>
                <a:gd name="T45" fmla="*/ 2147483646 h 10019"/>
                <a:gd name="T46" fmla="*/ 2147483646 w 10045"/>
                <a:gd name="T47" fmla="*/ 2147483646 h 10019"/>
                <a:gd name="T48" fmla="*/ 2147483646 w 10045"/>
                <a:gd name="T49" fmla="*/ 2147483646 h 10019"/>
                <a:gd name="T50" fmla="*/ 2147483646 w 10045"/>
                <a:gd name="T51" fmla="*/ 2147483646 h 10019"/>
                <a:gd name="T52" fmla="*/ 2147483646 w 10045"/>
                <a:gd name="T53" fmla="*/ 2147483646 h 10019"/>
                <a:gd name="T54" fmla="*/ 2147483646 w 10045"/>
                <a:gd name="T55" fmla="*/ 2147483646 h 10019"/>
                <a:gd name="T56" fmla="*/ 2147483646 w 10045"/>
                <a:gd name="T57" fmla="*/ 2147483646 h 10019"/>
                <a:gd name="T58" fmla="*/ 2147483646 w 10045"/>
                <a:gd name="T59" fmla="*/ 2147483646 h 10019"/>
                <a:gd name="T60" fmla="*/ 2147483646 w 10045"/>
                <a:gd name="T61" fmla="*/ 2147483646 h 10019"/>
                <a:gd name="T62" fmla="*/ 2147483646 w 10045"/>
                <a:gd name="T63" fmla="*/ 2147483646 h 10019"/>
                <a:gd name="T64" fmla="*/ 2147483646 w 10045"/>
                <a:gd name="T65" fmla="*/ 2147483646 h 10019"/>
                <a:gd name="T66" fmla="*/ 2147483646 w 10045"/>
                <a:gd name="T67" fmla="*/ 2147483646 h 10019"/>
                <a:gd name="T68" fmla="*/ 2147483646 w 10045"/>
                <a:gd name="T69" fmla="*/ 2147483646 h 10019"/>
                <a:gd name="T70" fmla="*/ 2147483646 w 10045"/>
                <a:gd name="T71" fmla="*/ 2147483646 h 10019"/>
                <a:gd name="T72" fmla="*/ 2147483646 w 10045"/>
                <a:gd name="T73" fmla="*/ 2147483646 h 10019"/>
                <a:gd name="T74" fmla="*/ 2147483646 w 10045"/>
                <a:gd name="T75" fmla="*/ 2147483646 h 10019"/>
                <a:gd name="T76" fmla="*/ 2147483646 w 10045"/>
                <a:gd name="T77" fmla="*/ 2147483646 h 10019"/>
                <a:gd name="T78" fmla="*/ 2147483646 w 10045"/>
                <a:gd name="T79" fmla="*/ 2147483646 h 10019"/>
                <a:gd name="T80" fmla="*/ 2147483646 w 10045"/>
                <a:gd name="T81" fmla="*/ 2147483646 h 10019"/>
                <a:gd name="T82" fmla="*/ 2147483646 w 10045"/>
                <a:gd name="T83" fmla="*/ 2147483646 h 10019"/>
                <a:gd name="T84" fmla="*/ 2147483646 w 10045"/>
                <a:gd name="T85" fmla="*/ 2147483646 h 10019"/>
                <a:gd name="T86" fmla="*/ 2147483646 w 10045"/>
                <a:gd name="T87" fmla="*/ 2147483646 h 10019"/>
                <a:gd name="T88" fmla="*/ 2147483646 w 10045"/>
                <a:gd name="T89" fmla="*/ 2147483646 h 10019"/>
                <a:gd name="T90" fmla="*/ 2147483646 w 10045"/>
                <a:gd name="T91" fmla="*/ 2147483646 h 10019"/>
                <a:gd name="T92" fmla="*/ 2147483646 w 10045"/>
                <a:gd name="T93" fmla="*/ 2147483646 h 10019"/>
                <a:gd name="T94" fmla="*/ 2147483646 w 10045"/>
                <a:gd name="T95" fmla="*/ 2147483646 h 10019"/>
                <a:gd name="T96" fmla="*/ 2147483646 w 10045"/>
                <a:gd name="T97" fmla="*/ 2147483646 h 10019"/>
                <a:gd name="T98" fmla="*/ 2147483646 w 10045"/>
                <a:gd name="T99" fmla="*/ 2147483646 h 10019"/>
                <a:gd name="T100" fmla="*/ 2147483646 w 10045"/>
                <a:gd name="T101" fmla="*/ 2147483646 h 10019"/>
                <a:gd name="T102" fmla="*/ 2147483646 w 10045"/>
                <a:gd name="T103" fmla="*/ 0 h 10019"/>
                <a:gd name="T104" fmla="*/ 2147483646 w 10045"/>
                <a:gd name="T105" fmla="*/ 2147483646 h 10019"/>
                <a:gd name="T106" fmla="*/ 2147483646 w 10045"/>
                <a:gd name="T107" fmla="*/ 2147483646 h 10019"/>
                <a:gd name="T108" fmla="*/ 2147483646 w 10045"/>
                <a:gd name="T109" fmla="*/ 2147483646 h 10019"/>
                <a:gd name="T110" fmla="*/ 2147483646 w 10045"/>
                <a:gd name="T111" fmla="*/ 2147483646 h 10019"/>
                <a:gd name="T112" fmla="*/ 2147483646 w 10045"/>
                <a:gd name="T113" fmla="*/ 2147483646 h 10019"/>
                <a:gd name="T114" fmla="*/ 2147483646 w 10045"/>
                <a:gd name="T115" fmla="*/ 2147483646 h 10019"/>
                <a:gd name="T116" fmla="*/ 2147483646 w 10045"/>
                <a:gd name="T117" fmla="*/ 2147483646 h 10019"/>
                <a:gd name="T118" fmla="*/ 2147483646 w 10045"/>
                <a:gd name="T119" fmla="*/ 2147483646 h 1001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045" h="10019">
                  <a:moveTo>
                    <a:pt x="1724" y="2609"/>
                  </a:moveTo>
                  <a:lnTo>
                    <a:pt x="1379" y="3132"/>
                  </a:lnTo>
                  <a:lnTo>
                    <a:pt x="1379" y="3915"/>
                  </a:lnTo>
                  <a:lnTo>
                    <a:pt x="690" y="4436"/>
                  </a:lnTo>
                  <a:lnTo>
                    <a:pt x="690" y="5219"/>
                  </a:lnTo>
                  <a:lnTo>
                    <a:pt x="345" y="5741"/>
                  </a:lnTo>
                  <a:lnTo>
                    <a:pt x="690" y="6263"/>
                  </a:lnTo>
                  <a:lnTo>
                    <a:pt x="345" y="6786"/>
                  </a:lnTo>
                  <a:lnTo>
                    <a:pt x="0" y="7306"/>
                  </a:lnTo>
                  <a:lnTo>
                    <a:pt x="1034" y="7568"/>
                  </a:lnTo>
                  <a:lnTo>
                    <a:pt x="1724" y="7829"/>
                  </a:lnTo>
                  <a:cubicBezTo>
                    <a:pt x="2069" y="7916"/>
                    <a:pt x="2675" y="8005"/>
                    <a:pt x="2759" y="8090"/>
                  </a:cubicBezTo>
                  <a:cubicBezTo>
                    <a:pt x="2843" y="8175"/>
                    <a:pt x="2382" y="8117"/>
                    <a:pt x="2230" y="8339"/>
                  </a:cubicBezTo>
                  <a:cubicBezTo>
                    <a:pt x="2078" y="8560"/>
                    <a:pt x="1874" y="9189"/>
                    <a:pt x="1848" y="9422"/>
                  </a:cubicBezTo>
                  <a:cubicBezTo>
                    <a:pt x="1822" y="9656"/>
                    <a:pt x="1806" y="9700"/>
                    <a:pt x="2073" y="9738"/>
                  </a:cubicBezTo>
                  <a:cubicBezTo>
                    <a:pt x="2340" y="9777"/>
                    <a:pt x="3104" y="9626"/>
                    <a:pt x="3448" y="9656"/>
                  </a:cubicBezTo>
                  <a:cubicBezTo>
                    <a:pt x="3792" y="9686"/>
                    <a:pt x="3969" y="9858"/>
                    <a:pt x="4138" y="9917"/>
                  </a:cubicBezTo>
                  <a:cubicBezTo>
                    <a:pt x="4307" y="9976"/>
                    <a:pt x="4368" y="9999"/>
                    <a:pt x="4463" y="10013"/>
                  </a:cubicBezTo>
                  <a:cubicBezTo>
                    <a:pt x="4558" y="10027"/>
                    <a:pt x="4532" y="10015"/>
                    <a:pt x="4708" y="9999"/>
                  </a:cubicBezTo>
                  <a:cubicBezTo>
                    <a:pt x="4884" y="9983"/>
                    <a:pt x="5267" y="9931"/>
                    <a:pt x="5517" y="9917"/>
                  </a:cubicBezTo>
                  <a:cubicBezTo>
                    <a:pt x="5767" y="9903"/>
                    <a:pt x="5977" y="9917"/>
                    <a:pt x="6207" y="9917"/>
                  </a:cubicBezTo>
                  <a:cubicBezTo>
                    <a:pt x="6667" y="9830"/>
                    <a:pt x="7228" y="9704"/>
                    <a:pt x="7586" y="9656"/>
                  </a:cubicBezTo>
                  <a:cubicBezTo>
                    <a:pt x="7944" y="9608"/>
                    <a:pt x="8185" y="9677"/>
                    <a:pt x="8353" y="9629"/>
                  </a:cubicBezTo>
                  <a:cubicBezTo>
                    <a:pt x="8521" y="9581"/>
                    <a:pt x="8604" y="9494"/>
                    <a:pt x="8597" y="9368"/>
                  </a:cubicBezTo>
                  <a:cubicBezTo>
                    <a:pt x="8590" y="9242"/>
                    <a:pt x="8278" y="8989"/>
                    <a:pt x="8312" y="8872"/>
                  </a:cubicBezTo>
                  <a:cubicBezTo>
                    <a:pt x="8346" y="8755"/>
                    <a:pt x="8653" y="8734"/>
                    <a:pt x="8802" y="8668"/>
                  </a:cubicBezTo>
                  <a:cubicBezTo>
                    <a:pt x="8951" y="8602"/>
                    <a:pt x="9106" y="8518"/>
                    <a:pt x="9207" y="8474"/>
                  </a:cubicBezTo>
                  <a:cubicBezTo>
                    <a:pt x="9308" y="8430"/>
                    <a:pt x="9462" y="8479"/>
                    <a:pt x="9408" y="8406"/>
                  </a:cubicBezTo>
                  <a:cubicBezTo>
                    <a:pt x="9354" y="8333"/>
                    <a:pt x="9101" y="8223"/>
                    <a:pt x="8882" y="8035"/>
                  </a:cubicBezTo>
                  <a:cubicBezTo>
                    <a:pt x="8663" y="7847"/>
                    <a:pt x="8352" y="7492"/>
                    <a:pt x="8092" y="7279"/>
                  </a:cubicBezTo>
                  <a:cubicBezTo>
                    <a:pt x="7832" y="7066"/>
                    <a:pt x="7487" y="6889"/>
                    <a:pt x="7321" y="6759"/>
                  </a:cubicBezTo>
                  <a:cubicBezTo>
                    <a:pt x="7155" y="6629"/>
                    <a:pt x="7054" y="6580"/>
                    <a:pt x="7098" y="6497"/>
                  </a:cubicBezTo>
                  <a:cubicBezTo>
                    <a:pt x="7142" y="6414"/>
                    <a:pt x="7390" y="6345"/>
                    <a:pt x="7586" y="6263"/>
                  </a:cubicBezTo>
                  <a:cubicBezTo>
                    <a:pt x="7782" y="6181"/>
                    <a:pt x="8026" y="6082"/>
                    <a:pt x="8276" y="6002"/>
                  </a:cubicBezTo>
                  <a:cubicBezTo>
                    <a:pt x="8526" y="5922"/>
                    <a:pt x="8900" y="5853"/>
                    <a:pt x="9086" y="5782"/>
                  </a:cubicBezTo>
                  <a:cubicBezTo>
                    <a:pt x="9272" y="5711"/>
                    <a:pt x="9238" y="5584"/>
                    <a:pt x="9390" y="5577"/>
                  </a:cubicBezTo>
                  <a:cubicBezTo>
                    <a:pt x="9542" y="5570"/>
                    <a:pt x="9898" y="5757"/>
                    <a:pt x="10000" y="5741"/>
                  </a:cubicBezTo>
                  <a:cubicBezTo>
                    <a:pt x="10102" y="5725"/>
                    <a:pt x="10000" y="5568"/>
                    <a:pt x="10000" y="5481"/>
                  </a:cubicBezTo>
                  <a:lnTo>
                    <a:pt x="10000" y="4697"/>
                  </a:lnTo>
                  <a:cubicBezTo>
                    <a:pt x="9655" y="4697"/>
                    <a:pt x="9655" y="3654"/>
                    <a:pt x="9655" y="3654"/>
                  </a:cubicBezTo>
                  <a:lnTo>
                    <a:pt x="9655" y="2871"/>
                  </a:lnTo>
                  <a:lnTo>
                    <a:pt x="9655" y="2609"/>
                  </a:lnTo>
                  <a:lnTo>
                    <a:pt x="9310" y="1827"/>
                  </a:lnTo>
                  <a:lnTo>
                    <a:pt x="9310" y="1305"/>
                  </a:lnTo>
                  <a:lnTo>
                    <a:pt x="7931" y="783"/>
                  </a:lnTo>
                  <a:lnTo>
                    <a:pt x="6552" y="1305"/>
                  </a:lnTo>
                  <a:cubicBezTo>
                    <a:pt x="6552" y="1305"/>
                    <a:pt x="6207" y="1305"/>
                    <a:pt x="5862" y="1044"/>
                  </a:cubicBezTo>
                  <a:lnTo>
                    <a:pt x="5862" y="522"/>
                  </a:lnTo>
                  <a:lnTo>
                    <a:pt x="4828" y="261"/>
                  </a:lnTo>
                  <a:lnTo>
                    <a:pt x="4138" y="0"/>
                  </a:lnTo>
                  <a:lnTo>
                    <a:pt x="3793" y="261"/>
                  </a:lnTo>
                  <a:lnTo>
                    <a:pt x="3448" y="1305"/>
                  </a:lnTo>
                  <a:lnTo>
                    <a:pt x="3103" y="1827"/>
                  </a:lnTo>
                  <a:lnTo>
                    <a:pt x="2414" y="1827"/>
                  </a:lnTo>
                  <a:lnTo>
                    <a:pt x="1724" y="1827"/>
                  </a:lnTo>
                  <a:lnTo>
                    <a:pt x="1724" y="2088"/>
                  </a:lnTo>
                  <a:lnTo>
                    <a:pt x="1724" y="260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9" name="Freeform 345"/>
            <p:cNvSpPr>
              <a:spLocks/>
            </p:cNvSpPr>
            <p:nvPr/>
          </p:nvSpPr>
          <p:spPr bwMode="auto">
            <a:xfrm>
              <a:off x="4704285" y="2987034"/>
              <a:ext cx="70161" cy="96373"/>
            </a:xfrm>
            <a:custGeom>
              <a:avLst/>
              <a:gdLst>
                <a:gd name="T0" fmla="*/ 2147483646 w 66"/>
                <a:gd name="T1" fmla="*/ 2147483646 h 90"/>
                <a:gd name="T2" fmla="*/ 2147483646 w 66"/>
                <a:gd name="T3" fmla="*/ 2147483646 h 90"/>
                <a:gd name="T4" fmla="*/ 2147483646 w 66"/>
                <a:gd name="T5" fmla="*/ 2147483646 h 90"/>
                <a:gd name="T6" fmla="*/ 2147483646 w 66"/>
                <a:gd name="T7" fmla="*/ 2147483646 h 90"/>
                <a:gd name="T8" fmla="*/ 2147483646 w 66"/>
                <a:gd name="T9" fmla="*/ 2147483646 h 90"/>
                <a:gd name="T10" fmla="*/ 2147483646 w 66"/>
                <a:gd name="T11" fmla="*/ 2147483646 h 90"/>
                <a:gd name="T12" fmla="*/ 2147483646 w 66"/>
                <a:gd name="T13" fmla="*/ 2147483646 h 90"/>
                <a:gd name="T14" fmla="*/ 2147483646 w 66"/>
                <a:gd name="T15" fmla="*/ 2147483646 h 90"/>
                <a:gd name="T16" fmla="*/ 2147483646 w 66"/>
                <a:gd name="T17" fmla="*/ 2147483646 h 90"/>
                <a:gd name="T18" fmla="*/ 2147483646 w 66"/>
                <a:gd name="T19" fmla="*/ 2147483646 h 90"/>
                <a:gd name="T20" fmla="*/ 2147483646 w 66"/>
                <a:gd name="T21" fmla="*/ 0 h 90"/>
                <a:gd name="T22" fmla="*/ 2147483646 w 66"/>
                <a:gd name="T23" fmla="*/ 2147483646 h 90"/>
                <a:gd name="T24" fmla="*/ 2147483646 w 66"/>
                <a:gd name="T25" fmla="*/ 2147483646 h 90"/>
                <a:gd name="T26" fmla="*/ 2147483646 w 66"/>
                <a:gd name="T27" fmla="*/ 2147483646 h 90"/>
                <a:gd name="T28" fmla="*/ 2147483646 w 66"/>
                <a:gd name="T29" fmla="*/ 2147483646 h 90"/>
                <a:gd name="T30" fmla="*/ 2147483646 w 66"/>
                <a:gd name="T31" fmla="*/ 2147483646 h 90"/>
                <a:gd name="T32" fmla="*/ 0 w 66"/>
                <a:gd name="T33" fmla="*/ 2147483646 h 90"/>
                <a:gd name="T34" fmla="*/ 2147483646 w 66"/>
                <a:gd name="T35" fmla="*/ 2147483646 h 90"/>
                <a:gd name="T36" fmla="*/ 2147483646 w 66"/>
                <a:gd name="T37" fmla="*/ 2147483646 h 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0">
                  <a:moveTo>
                    <a:pt x="18" y="72"/>
                  </a:moveTo>
                  <a:lnTo>
                    <a:pt x="30" y="78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8" y="78"/>
                  </a:lnTo>
                  <a:lnTo>
                    <a:pt x="48" y="60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6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24" y="18"/>
                  </a:lnTo>
                  <a:lnTo>
                    <a:pt x="12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0" name="Freeform 346"/>
            <p:cNvSpPr>
              <a:spLocks/>
            </p:cNvSpPr>
            <p:nvPr/>
          </p:nvSpPr>
          <p:spPr bwMode="auto">
            <a:xfrm rot="20966185">
              <a:off x="5055090" y="3398123"/>
              <a:ext cx="146169" cy="155100"/>
            </a:xfrm>
            <a:custGeom>
              <a:avLst/>
              <a:gdLst>
                <a:gd name="T0" fmla="*/ 2147483646 w 9874"/>
                <a:gd name="T1" fmla="*/ 2147483646 h 10000"/>
                <a:gd name="T2" fmla="*/ 2147483646 w 9874"/>
                <a:gd name="T3" fmla="*/ 2147483646 h 10000"/>
                <a:gd name="T4" fmla="*/ 2147483646 w 9874"/>
                <a:gd name="T5" fmla="*/ 2147483646 h 10000"/>
                <a:gd name="T6" fmla="*/ 2147483646 w 9874"/>
                <a:gd name="T7" fmla="*/ 0 h 10000"/>
                <a:gd name="T8" fmla="*/ 2147483646 w 9874"/>
                <a:gd name="T9" fmla="*/ 2147483646 h 10000"/>
                <a:gd name="T10" fmla="*/ 2147483646 w 9874"/>
                <a:gd name="T11" fmla="*/ 2147483646 h 10000"/>
                <a:gd name="T12" fmla="*/ 2147483646 w 9874"/>
                <a:gd name="T13" fmla="*/ 2147483646 h 10000"/>
                <a:gd name="T14" fmla="*/ 2147483646 w 9874"/>
                <a:gd name="T15" fmla="*/ 2147483646 h 10000"/>
                <a:gd name="T16" fmla="*/ 2147483646 w 9874"/>
                <a:gd name="T17" fmla="*/ 2147483646 h 10000"/>
                <a:gd name="T18" fmla="*/ 0 w 9874"/>
                <a:gd name="T19" fmla="*/ 2147483646 h 10000"/>
                <a:gd name="T20" fmla="*/ 2147483646 w 9874"/>
                <a:gd name="T21" fmla="*/ 2147483646 h 10000"/>
                <a:gd name="T22" fmla="*/ 2147483646 w 9874"/>
                <a:gd name="T23" fmla="*/ 2147483646 h 10000"/>
                <a:gd name="T24" fmla="*/ 2147483646 w 9874"/>
                <a:gd name="T25" fmla="*/ 2147483646 h 10000"/>
                <a:gd name="T26" fmla="*/ 2147483646 w 9874"/>
                <a:gd name="T27" fmla="*/ 2147483646 h 10000"/>
                <a:gd name="T28" fmla="*/ 2147483646 w 9874"/>
                <a:gd name="T29" fmla="*/ 2147483646 h 10000"/>
                <a:gd name="T30" fmla="*/ 2147483646 w 9874"/>
                <a:gd name="T31" fmla="*/ 2147483646 h 10000"/>
                <a:gd name="T32" fmla="*/ 2147483646 w 9874"/>
                <a:gd name="T33" fmla="*/ 2147483646 h 10000"/>
                <a:gd name="T34" fmla="*/ 2147483646 w 9874"/>
                <a:gd name="T35" fmla="*/ 2147483646 h 10000"/>
                <a:gd name="T36" fmla="*/ 2147483646 w 9874"/>
                <a:gd name="T37" fmla="*/ 2147483646 h 10000"/>
                <a:gd name="T38" fmla="*/ 2147483646 w 9874"/>
                <a:gd name="T39" fmla="*/ 2147483646 h 10000"/>
                <a:gd name="T40" fmla="*/ 2147483646 w 9874"/>
                <a:gd name="T41" fmla="*/ 2147483646 h 10000"/>
                <a:gd name="T42" fmla="*/ 2147483646 w 9874"/>
                <a:gd name="T43" fmla="*/ 2147483646 h 10000"/>
                <a:gd name="T44" fmla="*/ 2147483646 w 9874"/>
                <a:gd name="T45" fmla="*/ 2147483646 h 10000"/>
                <a:gd name="T46" fmla="*/ 2147483646 w 9874"/>
                <a:gd name="T47" fmla="*/ 2147483646 h 10000"/>
                <a:gd name="T48" fmla="*/ 2147483646 w 9874"/>
                <a:gd name="T49" fmla="*/ 2147483646 h 10000"/>
                <a:gd name="T50" fmla="*/ 2147483646 w 9874"/>
                <a:gd name="T51" fmla="*/ 2147483646 h 1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9874" h="10000">
                  <a:moveTo>
                    <a:pt x="9677" y="735"/>
                  </a:moveTo>
                  <a:lnTo>
                    <a:pt x="9874" y="489"/>
                  </a:lnTo>
                  <a:lnTo>
                    <a:pt x="9223" y="488"/>
                  </a:lnTo>
                  <a:lnTo>
                    <a:pt x="8813" y="0"/>
                  </a:lnTo>
                  <a:lnTo>
                    <a:pt x="5802" y="299"/>
                  </a:lnTo>
                  <a:lnTo>
                    <a:pt x="3889" y="1094"/>
                  </a:lnTo>
                  <a:lnTo>
                    <a:pt x="1667" y="1588"/>
                  </a:lnTo>
                  <a:lnTo>
                    <a:pt x="1667" y="2083"/>
                  </a:lnTo>
                  <a:lnTo>
                    <a:pt x="1111" y="3073"/>
                  </a:lnTo>
                  <a:lnTo>
                    <a:pt x="0" y="4062"/>
                  </a:lnTo>
                  <a:lnTo>
                    <a:pt x="1111" y="5547"/>
                  </a:lnTo>
                  <a:lnTo>
                    <a:pt x="3333" y="6042"/>
                  </a:lnTo>
                  <a:lnTo>
                    <a:pt x="2222" y="7031"/>
                  </a:lnTo>
                  <a:lnTo>
                    <a:pt x="2222" y="9010"/>
                  </a:lnTo>
                  <a:lnTo>
                    <a:pt x="4445" y="10000"/>
                  </a:lnTo>
                  <a:lnTo>
                    <a:pt x="5555" y="9010"/>
                  </a:lnTo>
                  <a:lnTo>
                    <a:pt x="5555" y="8021"/>
                  </a:lnTo>
                  <a:lnTo>
                    <a:pt x="7777" y="7031"/>
                  </a:lnTo>
                  <a:lnTo>
                    <a:pt x="5555" y="5052"/>
                  </a:lnTo>
                  <a:lnTo>
                    <a:pt x="5555" y="4062"/>
                  </a:lnTo>
                  <a:lnTo>
                    <a:pt x="4445" y="2578"/>
                  </a:lnTo>
                  <a:lnTo>
                    <a:pt x="7777" y="2083"/>
                  </a:lnTo>
                  <a:lnTo>
                    <a:pt x="9152" y="1778"/>
                  </a:lnTo>
                  <a:lnTo>
                    <a:pt x="9179" y="1136"/>
                  </a:lnTo>
                  <a:lnTo>
                    <a:pt x="9413" y="901"/>
                  </a:lnTo>
                  <a:lnTo>
                    <a:pt x="9677" y="73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1" name="Freeform 351"/>
            <p:cNvSpPr>
              <a:spLocks/>
            </p:cNvSpPr>
            <p:nvPr/>
          </p:nvSpPr>
          <p:spPr bwMode="auto">
            <a:xfrm>
              <a:off x="5046320" y="3157191"/>
              <a:ext cx="188557" cy="159617"/>
            </a:xfrm>
            <a:custGeom>
              <a:avLst/>
              <a:gdLst>
                <a:gd name="T0" fmla="*/ 2147483646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0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2147483646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2147483646 h 10000"/>
                <a:gd name="T20" fmla="*/ 2147483646 w 10000"/>
                <a:gd name="T21" fmla="*/ 2147483646 h 10000"/>
                <a:gd name="T22" fmla="*/ 2147483646 w 10000"/>
                <a:gd name="T23" fmla="*/ 2147483646 h 10000"/>
                <a:gd name="T24" fmla="*/ 2147483646 w 10000"/>
                <a:gd name="T25" fmla="*/ 2147483646 h 10000"/>
                <a:gd name="T26" fmla="*/ 2147483646 w 10000"/>
                <a:gd name="T27" fmla="*/ 2147483646 h 10000"/>
                <a:gd name="T28" fmla="*/ 2147483646 w 10000"/>
                <a:gd name="T29" fmla="*/ 2147483646 h 10000"/>
                <a:gd name="T30" fmla="*/ 2147483646 w 10000"/>
                <a:gd name="T31" fmla="*/ 2147483646 h 10000"/>
                <a:gd name="T32" fmla="*/ 2147483646 w 10000"/>
                <a:gd name="T33" fmla="*/ 2147483646 h 10000"/>
                <a:gd name="T34" fmla="*/ 2147483646 w 10000"/>
                <a:gd name="T35" fmla="*/ 2147483646 h 10000"/>
                <a:gd name="T36" fmla="*/ 2147483646 w 10000"/>
                <a:gd name="T37" fmla="*/ 2147483646 h 10000"/>
                <a:gd name="T38" fmla="*/ 2147483646 w 10000"/>
                <a:gd name="T39" fmla="*/ 2147483646 h 10000"/>
                <a:gd name="T40" fmla="*/ 2147483646 w 10000"/>
                <a:gd name="T41" fmla="*/ 2147483646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000" h="10000">
                  <a:moveTo>
                    <a:pt x="8952" y="4746"/>
                  </a:moveTo>
                  <a:cubicBezTo>
                    <a:pt x="8952" y="4746"/>
                    <a:pt x="9789" y="4438"/>
                    <a:pt x="9789" y="4036"/>
                  </a:cubicBezTo>
                  <a:cubicBezTo>
                    <a:pt x="10125" y="3229"/>
                    <a:pt x="10054" y="3000"/>
                    <a:pt x="9628" y="2328"/>
                  </a:cubicBezTo>
                  <a:cubicBezTo>
                    <a:pt x="9201" y="1655"/>
                    <a:pt x="8028" y="776"/>
                    <a:pt x="7229" y="0"/>
                  </a:cubicBezTo>
                  <a:cubicBezTo>
                    <a:pt x="6677" y="239"/>
                    <a:pt x="6358" y="529"/>
                    <a:pt x="5576" y="715"/>
                  </a:cubicBezTo>
                  <a:cubicBezTo>
                    <a:pt x="4794" y="901"/>
                    <a:pt x="3551" y="983"/>
                    <a:pt x="2539" y="1118"/>
                  </a:cubicBezTo>
                  <a:lnTo>
                    <a:pt x="2201" y="715"/>
                  </a:lnTo>
                  <a:lnTo>
                    <a:pt x="1188" y="2730"/>
                  </a:lnTo>
                  <a:cubicBezTo>
                    <a:pt x="963" y="3268"/>
                    <a:pt x="631" y="4031"/>
                    <a:pt x="513" y="4343"/>
                  </a:cubicBezTo>
                  <a:cubicBezTo>
                    <a:pt x="396" y="4654"/>
                    <a:pt x="496" y="4524"/>
                    <a:pt x="482" y="4603"/>
                  </a:cubicBezTo>
                  <a:cubicBezTo>
                    <a:pt x="467" y="4681"/>
                    <a:pt x="503" y="4723"/>
                    <a:pt x="422" y="4817"/>
                  </a:cubicBezTo>
                  <a:cubicBezTo>
                    <a:pt x="342" y="4911"/>
                    <a:pt x="-28" y="5153"/>
                    <a:pt x="2" y="5165"/>
                  </a:cubicBezTo>
                  <a:cubicBezTo>
                    <a:pt x="871" y="6361"/>
                    <a:pt x="1309" y="7628"/>
                    <a:pt x="1789" y="8230"/>
                  </a:cubicBezTo>
                  <a:cubicBezTo>
                    <a:pt x="2266" y="8832"/>
                    <a:pt x="2645" y="8558"/>
                    <a:pt x="2875" y="8776"/>
                  </a:cubicBezTo>
                  <a:cubicBezTo>
                    <a:pt x="3105" y="8994"/>
                    <a:pt x="2722" y="9336"/>
                    <a:pt x="3174" y="9539"/>
                  </a:cubicBezTo>
                  <a:cubicBezTo>
                    <a:pt x="3626" y="9742"/>
                    <a:pt x="4682" y="10053"/>
                    <a:pt x="5588" y="9993"/>
                  </a:cubicBezTo>
                  <a:cubicBezTo>
                    <a:pt x="6494" y="9933"/>
                    <a:pt x="8055" y="9717"/>
                    <a:pt x="8615" y="9179"/>
                  </a:cubicBezTo>
                  <a:cubicBezTo>
                    <a:pt x="9175" y="8641"/>
                    <a:pt x="8840" y="7567"/>
                    <a:pt x="8952" y="6761"/>
                  </a:cubicBezTo>
                  <a:lnTo>
                    <a:pt x="9628" y="6358"/>
                  </a:lnTo>
                  <a:cubicBezTo>
                    <a:pt x="9591" y="6168"/>
                    <a:pt x="9555" y="5977"/>
                    <a:pt x="9518" y="5787"/>
                  </a:cubicBezTo>
                  <a:cubicBezTo>
                    <a:pt x="9629" y="5384"/>
                    <a:pt x="8840" y="5149"/>
                    <a:pt x="8952" y="474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2" name="Freeform 353"/>
            <p:cNvSpPr>
              <a:spLocks/>
            </p:cNvSpPr>
            <p:nvPr/>
          </p:nvSpPr>
          <p:spPr bwMode="auto">
            <a:xfrm>
              <a:off x="4856301" y="3083407"/>
              <a:ext cx="146169" cy="78303"/>
            </a:xfrm>
            <a:custGeom>
              <a:avLst/>
              <a:gdLst>
                <a:gd name="T0" fmla="*/ 2147483646 w 10569"/>
                <a:gd name="T1" fmla="*/ 2147483646 h 10092"/>
                <a:gd name="T2" fmla="*/ 2147483646 w 10569"/>
                <a:gd name="T3" fmla="*/ 2147483646 h 10092"/>
                <a:gd name="T4" fmla="*/ 2147483646 w 10569"/>
                <a:gd name="T5" fmla="*/ 2147483646 h 10092"/>
                <a:gd name="T6" fmla="*/ 2147483646 w 10569"/>
                <a:gd name="T7" fmla="*/ 0 h 10092"/>
                <a:gd name="T8" fmla="*/ 2147483646 w 10569"/>
                <a:gd name="T9" fmla="*/ 2051762966 h 10092"/>
                <a:gd name="T10" fmla="*/ 2147483646 w 10569"/>
                <a:gd name="T11" fmla="*/ 0 h 10092"/>
                <a:gd name="T12" fmla="*/ 2147483646 w 10569"/>
                <a:gd name="T13" fmla="*/ 2051762966 h 10092"/>
                <a:gd name="T14" fmla="*/ 2147483646 w 10569"/>
                <a:gd name="T15" fmla="*/ 2147483646 h 10092"/>
                <a:gd name="T16" fmla="*/ 2147483646 w 10569"/>
                <a:gd name="T17" fmla="*/ 2147483646 h 10092"/>
                <a:gd name="T18" fmla="*/ 1906009187 w 10569"/>
                <a:gd name="T19" fmla="*/ 2147483646 h 10092"/>
                <a:gd name="T20" fmla="*/ 2147483646 w 10569"/>
                <a:gd name="T21" fmla="*/ 2147483646 h 10092"/>
                <a:gd name="T22" fmla="*/ 2147483646 w 10569"/>
                <a:gd name="T23" fmla="*/ 2147483646 h 10092"/>
                <a:gd name="T24" fmla="*/ 2147483646 w 10569"/>
                <a:gd name="T25" fmla="*/ 2147483646 h 10092"/>
                <a:gd name="T26" fmla="*/ 2147483646 w 10569"/>
                <a:gd name="T27" fmla="*/ 2147483646 h 10092"/>
                <a:gd name="T28" fmla="*/ 2147483646 w 10569"/>
                <a:gd name="T29" fmla="*/ 2147483646 h 10092"/>
                <a:gd name="T30" fmla="*/ 2147483646 w 10569"/>
                <a:gd name="T31" fmla="*/ 2147483646 h 10092"/>
                <a:gd name="T32" fmla="*/ 2147483646 w 10569"/>
                <a:gd name="T33" fmla="*/ 2147483646 h 10092"/>
                <a:gd name="T34" fmla="*/ 2147483646 w 10569"/>
                <a:gd name="T35" fmla="*/ 2147483646 h 10092"/>
                <a:gd name="T36" fmla="*/ 2147483646 w 10569"/>
                <a:gd name="T37" fmla="*/ 2147483646 h 10092"/>
                <a:gd name="T38" fmla="*/ 2147483646 w 10569"/>
                <a:gd name="T39" fmla="*/ 2147483646 h 10092"/>
                <a:gd name="T40" fmla="*/ 2147483646 w 10569"/>
                <a:gd name="T41" fmla="*/ 2147483646 h 10092"/>
                <a:gd name="T42" fmla="*/ 2147483646 w 10569"/>
                <a:gd name="T43" fmla="*/ 2147483646 h 10092"/>
                <a:gd name="T44" fmla="*/ 2147483646 w 10569"/>
                <a:gd name="T45" fmla="*/ 2147483646 h 100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569" h="10092">
                  <a:moveTo>
                    <a:pt x="10569" y="5925"/>
                  </a:moveTo>
                  <a:cubicBezTo>
                    <a:pt x="10249" y="5077"/>
                    <a:pt x="8682" y="4197"/>
                    <a:pt x="7738" y="3333"/>
                  </a:cubicBezTo>
                  <a:lnTo>
                    <a:pt x="5920" y="1667"/>
                  </a:lnTo>
                  <a:lnTo>
                    <a:pt x="4102" y="0"/>
                  </a:lnTo>
                  <a:lnTo>
                    <a:pt x="4102" y="833"/>
                  </a:lnTo>
                  <a:lnTo>
                    <a:pt x="3193" y="0"/>
                  </a:lnTo>
                  <a:lnTo>
                    <a:pt x="2738" y="833"/>
                  </a:lnTo>
                  <a:lnTo>
                    <a:pt x="1829" y="1667"/>
                  </a:lnTo>
                  <a:lnTo>
                    <a:pt x="920" y="2500"/>
                  </a:lnTo>
                  <a:cubicBezTo>
                    <a:pt x="617" y="2778"/>
                    <a:pt x="87" y="3007"/>
                    <a:pt x="11" y="3333"/>
                  </a:cubicBezTo>
                  <a:cubicBezTo>
                    <a:pt x="-65" y="3659"/>
                    <a:pt x="248" y="4018"/>
                    <a:pt x="466" y="4459"/>
                  </a:cubicBezTo>
                  <a:cubicBezTo>
                    <a:pt x="684" y="4900"/>
                    <a:pt x="1019" y="5333"/>
                    <a:pt x="1322" y="5979"/>
                  </a:cubicBezTo>
                  <a:cubicBezTo>
                    <a:pt x="1625" y="6625"/>
                    <a:pt x="2048" y="7802"/>
                    <a:pt x="2284" y="8333"/>
                  </a:cubicBezTo>
                  <a:cubicBezTo>
                    <a:pt x="2520" y="8864"/>
                    <a:pt x="2583" y="8874"/>
                    <a:pt x="2738" y="9167"/>
                  </a:cubicBezTo>
                  <a:cubicBezTo>
                    <a:pt x="2893" y="9460"/>
                    <a:pt x="3217" y="10092"/>
                    <a:pt x="3217" y="10092"/>
                  </a:cubicBezTo>
                  <a:cubicBezTo>
                    <a:pt x="4581" y="10092"/>
                    <a:pt x="4900" y="9994"/>
                    <a:pt x="4900" y="9994"/>
                  </a:cubicBezTo>
                  <a:cubicBezTo>
                    <a:pt x="4785" y="9440"/>
                    <a:pt x="5654" y="9714"/>
                    <a:pt x="5539" y="9160"/>
                  </a:cubicBezTo>
                  <a:cubicBezTo>
                    <a:pt x="5853" y="9260"/>
                    <a:pt x="6250" y="9364"/>
                    <a:pt x="6402" y="9410"/>
                  </a:cubicBezTo>
                  <a:cubicBezTo>
                    <a:pt x="6554" y="9456"/>
                    <a:pt x="6377" y="9434"/>
                    <a:pt x="6453" y="9434"/>
                  </a:cubicBezTo>
                  <a:cubicBezTo>
                    <a:pt x="6529" y="9434"/>
                    <a:pt x="6505" y="9504"/>
                    <a:pt x="6723" y="9605"/>
                  </a:cubicBezTo>
                  <a:cubicBezTo>
                    <a:pt x="6941" y="9707"/>
                    <a:pt x="7421" y="10085"/>
                    <a:pt x="7759" y="10043"/>
                  </a:cubicBezTo>
                  <a:cubicBezTo>
                    <a:pt x="8097" y="10001"/>
                    <a:pt x="8436" y="9626"/>
                    <a:pt x="8753" y="9355"/>
                  </a:cubicBezTo>
                  <a:cubicBezTo>
                    <a:pt x="9070" y="9084"/>
                    <a:pt x="8347" y="9964"/>
                    <a:pt x="10391" y="9757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3" name="Freeform 354"/>
            <p:cNvSpPr>
              <a:spLocks/>
            </p:cNvSpPr>
            <p:nvPr/>
          </p:nvSpPr>
          <p:spPr bwMode="auto">
            <a:xfrm>
              <a:off x="4960080" y="3164721"/>
              <a:ext cx="127167" cy="90349"/>
            </a:xfrm>
            <a:custGeom>
              <a:avLst/>
              <a:gdLst>
                <a:gd name="T0" fmla="*/ 2147483646 w 9980"/>
                <a:gd name="T1" fmla="*/ 0 h 10000"/>
                <a:gd name="T2" fmla="*/ 2147483646 w 9980"/>
                <a:gd name="T3" fmla="*/ 2147483646 h 10000"/>
                <a:gd name="T4" fmla="*/ 2147483646 w 9980"/>
                <a:gd name="T5" fmla="*/ 2147483646 h 10000"/>
                <a:gd name="T6" fmla="*/ 2147483646 w 9980"/>
                <a:gd name="T7" fmla="*/ 2147483646 h 10000"/>
                <a:gd name="T8" fmla="*/ 2147483646 w 9980"/>
                <a:gd name="T9" fmla="*/ 2147483646 h 10000"/>
                <a:gd name="T10" fmla="*/ 2147483646 w 9980"/>
                <a:gd name="T11" fmla="*/ 2147483646 h 10000"/>
                <a:gd name="T12" fmla="*/ 2147483646 w 9980"/>
                <a:gd name="T13" fmla="*/ 2147483646 h 10000"/>
                <a:gd name="T14" fmla="*/ 2147483646 w 9980"/>
                <a:gd name="T15" fmla="*/ 2147483646 h 10000"/>
                <a:gd name="T16" fmla="*/ 2147483646 w 9980"/>
                <a:gd name="T17" fmla="*/ 2147483646 h 10000"/>
                <a:gd name="T18" fmla="*/ 2147483646 w 9980"/>
                <a:gd name="T19" fmla="*/ 2147483646 h 10000"/>
                <a:gd name="T20" fmla="*/ 2147483646 w 9980"/>
                <a:gd name="T21" fmla="*/ 2147483646 h 10000"/>
                <a:gd name="T22" fmla="*/ 2147483646 w 9980"/>
                <a:gd name="T23" fmla="*/ 2147483646 h 10000"/>
                <a:gd name="T24" fmla="*/ 2147483646 w 9980"/>
                <a:gd name="T25" fmla="*/ 2147483646 h 10000"/>
                <a:gd name="T26" fmla="*/ 2147483646 w 9980"/>
                <a:gd name="T27" fmla="*/ 2147483646 h 10000"/>
                <a:gd name="T28" fmla="*/ 2147483646 w 9980"/>
                <a:gd name="T29" fmla="*/ 2147483646 h 10000"/>
                <a:gd name="T30" fmla="*/ 2147483646 w 9980"/>
                <a:gd name="T31" fmla="*/ 2147483646 h 10000"/>
                <a:gd name="T32" fmla="*/ 2147483646 w 9980"/>
                <a:gd name="T33" fmla="*/ 2147483646 h 10000"/>
                <a:gd name="T34" fmla="*/ 2147483646 w 9980"/>
                <a:gd name="T35" fmla="*/ 2147483646 h 10000"/>
                <a:gd name="T36" fmla="*/ 2147483646 w 9980"/>
                <a:gd name="T37" fmla="*/ 898403972 h 10000"/>
                <a:gd name="T38" fmla="*/ 2147483646 w 9980"/>
                <a:gd name="T39" fmla="*/ 2147483646 h 10000"/>
                <a:gd name="T40" fmla="*/ 2147483646 w 9980"/>
                <a:gd name="T41" fmla="*/ 0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980" h="10000">
                  <a:moveTo>
                    <a:pt x="7338" y="0"/>
                  </a:moveTo>
                  <a:cubicBezTo>
                    <a:pt x="6885" y="506"/>
                    <a:pt x="6535" y="1151"/>
                    <a:pt x="5980" y="1519"/>
                  </a:cubicBezTo>
                  <a:cubicBezTo>
                    <a:pt x="5426" y="1887"/>
                    <a:pt x="4670" y="1978"/>
                    <a:pt x="4015" y="2207"/>
                  </a:cubicBezTo>
                  <a:cubicBezTo>
                    <a:pt x="2540" y="2895"/>
                    <a:pt x="2950" y="2822"/>
                    <a:pt x="2540" y="2895"/>
                  </a:cubicBezTo>
                  <a:cubicBezTo>
                    <a:pt x="2130" y="2968"/>
                    <a:pt x="1557" y="2645"/>
                    <a:pt x="1557" y="2645"/>
                  </a:cubicBezTo>
                  <a:cubicBezTo>
                    <a:pt x="1066" y="1958"/>
                    <a:pt x="1230" y="2051"/>
                    <a:pt x="1066" y="2207"/>
                  </a:cubicBezTo>
                  <a:cubicBezTo>
                    <a:pt x="902" y="2363"/>
                    <a:pt x="574" y="3582"/>
                    <a:pt x="574" y="3582"/>
                  </a:cubicBezTo>
                  <a:cubicBezTo>
                    <a:pt x="409" y="4270"/>
                    <a:pt x="174" y="5254"/>
                    <a:pt x="82" y="5646"/>
                  </a:cubicBezTo>
                  <a:cubicBezTo>
                    <a:pt x="-10" y="6038"/>
                    <a:pt x="-16" y="5749"/>
                    <a:pt x="22" y="5937"/>
                  </a:cubicBezTo>
                  <a:cubicBezTo>
                    <a:pt x="60" y="6125"/>
                    <a:pt x="42" y="6197"/>
                    <a:pt x="312" y="6773"/>
                  </a:cubicBezTo>
                  <a:cubicBezTo>
                    <a:pt x="583" y="7349"/>
                    <a:pt x="1094" y="8858"/>
                    <a:pt x="1644" y="9396"/>
                  </a:cubicBezTo>
                  <a:cubicBezTo>
                    <a:pt x="2194" y="9934"/>
                    <a:pt x="3153" y="9997"/>
                    <a:pt x="3610" y="10000"/>
                  </a:cubicBezTo>
                  <a:cubicBezTo>
                    <a:pt x="4068" y="10003"/>
                    <a:pt x="3989" y="9657"/>
                    <a:pt x="4389" y="9418"/>
                  </a:cubicBezTo>
                  <a:cubicBezTo>
                    <a:pt x="4788" y="9179"/>
                    <a:pt x="5720" y="8707"/>
                    <a:pt x="6009" y="8564"/>
                  </a:cubicBezTo>
                  <a:cubicBezTo>
                    <a:pt x="6298" y="8421"/>
                    <a:pt x="5883" y="8706"/>
                    <a:pt x="6124" y="8564"/>
                  </a:cubicBezTo>
                  <a:cubicBezTo>
                    <a:pt x="6364" y="8422"/>
                    <a:pt x="7069" y="8310"/>
                    <a:pt x="7455" y="7709"/>
                  </a:cubicBezTo>
                  <a:cubicBezTo>
                    <a:pt x="7841" y="7109"/>
                    <a:pt x="8111" y="5875"/>
                    <a:pt x="8438" y="4958"/>
                  </a:cubicBezTo>
                  <a:cubicBezTo>
                    <a:pt x="8929" y="3812"/>
                    <a:pt x="9701" y="2324"/>
                    <a:pt x="9913" y="1519"/>
                  </a:cubicBezTo>
                  <a:cubicBezTo>
                    <a:pt x="10125" y="713"/>
                    <a:pt x="9778" y="589"/>
                    <a:pt x="9710" y="125"/>
                  </a:cubicBezTo>
                  <a:lnTo>
                    <a:pt x="9128" y="332"/>
                  </a:lnTo>
                  <a:lnTo>
                    <a:pt x="7338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4" name="Freeform 355"/>
            <p:cNvSpPr>
              <a:spLocks/>
            </p:cNvSpPr>
            <p:nvPr/>
          </p:nvSpPr>
          <p:spPr bwMode="auto">
            <a:xfrm>
              <a:off x="4964466" y="3127075"/>
              <a:ext cx="122782" cy="66256"/>
            </a:xfrm>
            <a:custGeom>
              <a:avLst/>
              <a:gdLst>
                <a:gd name="T0" fmla="*/ 2147483646 w 10000"/>
                <a:gd name="T1" fmla="*/ 620964243 h 9595"/>
                <a:gd name="T2" fmla="*/ 2147483646 w 10000"/>
                <a:gd name="T3" fmla="*/ 98836643 h 9595"/>
                <a:gd name="T4" fmla="*/ 2147483646 w 10000"/>
                <a:gd name="T5" fmla="*/ 105234423 h 9595"/>
                <a:gd name="T6" fmla="*/ 2147483646 w 10000"/>
                <a:gd name="T7" fmla="*/ 620964243 h 9595"/>
                <a:gd name="T8" fmla="*/ 2147483646 w 10000"/>
                <a:gd name="T9" fmla="*/ 2147483646 h 9595"/>
                <a:gd name="T10" fmla="*/ 0 w 10000"/>
                <a:gd name="T11" fmla="*/ 2147483646 h 9595"/>
                <a:gd name="T12" fmla="*/ 2147483646 w 10000"/>
                <a:gd name="T13" fmla="*/ 2147483646 h 9595"/>
                <a:gd name="T14" fmla="*/ 2147483646 w 10000"/>
                <a:gd name="T15" fmla="*/ 2147483646 h 9595"/>
                <a:gd name="T16" fmla="*/ 2147483646 w 10000"/>
                <a:gd name="T17" fmla="*/ 2147483646 h 9595"/>
                <a:gd name="T18" fmla="*/ 2147483646 w 10000"/>
                <a:gd name="T19" fmla="*/ 2147483646 h 9595"/>
                <a:gd name="T20" fmla="*/ 2147483646 w 10000"/>
                <a:gd name="T21" fmla="*/ 2147483646 h 9595"/>
                <a:gd name="T22" fmla="*/ 2147483646 w 10000"/>
                <a:gd name="T23" fmla="*/ 2147483646 h 9595"/>
                <a:gd name="T24" fmla="*/ 2147483646 w 10000"/>
                <a:gd name="T25" fmla="*/ 2147483646 h 9595"/>
                <a:gd name="T26" fmla="*/ 2147483646 w 10000"/>
                <a:gd name="T27" fmla="*/ 2147483646 h 9595"/>
                <a:gd name="T28" fmla="*/ 2147483646 w 10000"/>
                <a:gd name="T29" fmla="*/ 2147483646 h 9595"/>
                <a:gd name="T30" fmla="*/ 2147483646 w 10000"/>
                <a:gd name="T31" fmla="*/ 2147483646 h 9595"/>
                <a:gd name="T32" fmla="*/ 2147483646 w 10000"/>
                <a:gd name="T33" fmla="*/ 1290772600 h 9595"/>
                <a:gd name="T34" fmla="*/ 2147483646 w 10000"/>
                <a:gd name="T35" fmla="*/ 620964243 h 9595"/>
                <a:gd name="T36" fmla="*/ 2147483646 w 10000"/>
                <a:gd name="T37" fmla="*/ 620964243 h 959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000" h="9595">
                  <a:moveTo>
                    <a:pt x="6210" y="584"/>
                  </a:moveTo>
                  <a:cubicBezTo>
                    <a:pt x="5554" y="325"/>
                    <a:pt x="5389" y="258"/>
                    <a:pt x="5013" y="93"/>
                  </a:cubicBezTo>
                  <a:cubicBezTo>
                    <a:pt x="4637" y="-72"/>
                    <a:pt x="4318" y="17"/>
                    <a:pt x="3953" y="99"/>
                  </a:cubicBezTo>
                  <a:lnTo>
                    <a:pt x="2823" y="584"/>
                  </a:lnTo>
                  <a:lnTo>
                    <a:pt x="2259" y="2806"/>
                  </a:lnTo>
                  <a:lnTo>
                    <a:pt x="0" y="5029"/>
                  </a:lnTo>
                  <a:lnTo>
                    <a:pt x="565" y="7251"/>
                  </a:lnTo>
                  <a:lnTo>
                    <a:pt x="979" y="8586"/>
                  </a:lnTo>
                  <a:lnTo>
                    <a:pt x="2018" y="9595"/>
                  </a:lnTo>
                  <a:lnTo>
                    <a:pt x="4432" y="8261"/>
                  </a:lnTo>
                  <a:lnTo>
                    <a:pt x="6240" y="7653"/>
                  </a:lnTo>
                  <a:lnTo>
                    <a:pt x="7130" y="5478"/>
                  </a:lnTo>
                  <a:lnTo>
                    <a:pt x="9214" y="5927"/>
                  </a:lnTo>
                  <a:lnTo>
                    <a:pt x="9803" y="4973"/>
                  </a:lnTo>
                  <a:cubicBezTo>
                    <a:pt x="9735" y="4622"/>
                    <a:pt x="9905" y="4270"/>
                    <a:pt x="9837" y="3918"/>
                  </a:cubicBezTo>
                  <a:cubicBezTo>
                    <a:pt x="9758" y="2807"/>
                    <a:pt x="10067" y="3265"/>
                    <a:pt x="9987" y="2154"/>
                  </a:cubicBezTo>
                  <a:cubicBezTo>
                    <a:pt x="9527" y="1653"/>
                    <a:pt x="9037" y="1714"/>
                    <a:pt x="8578" y="1214"/>
                  </a:cubicBezTo>
                  <a:cubicBezTo>
                    <a:pt x="8542" y="1004"/>
                    <a:pt x="8505" y="794"/>
                    <a:pt x="8469" y="584"/>
                  </a:cubicBezTo>
                  <a:lnTo>
                    <a:pt x="6210" y="5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5" name="Freeform 356"/>
            <p:cNvSpPr>
              <a:spLocks/>
            </p:cNvSpPr>
            <p:nvPr/>
          </p:nvSpPr>
          <p:spPr bwMode="auto">
            <a:xfrm>
              <a:off x="5101864" y="3298739"/>
              <a:ext cx="168094" cy="134019"/>
            </a:xfrm>
            <a:custGeom>
              <a:avLst/>
              <a:gdLst>
                <a:gd name="T0" fmla="*/ 2147483646 w 10000"/>
                <a:gd name="T1" fmla="*/ 2147483646 h 10000"/>
                <a:gd name="T2" fmla="*/ 2147483646 w 10000"/>
                <a:gd name="T3" fmla="*/ 2147483646 h 10000"/>
                <a:gd name="T4" fmla="*/ 0 w 10000"/>
                <a:gd name="T5" fmla="*/ 0 h 10000"/>
                <a:gd name="T6" fmla="*/ 0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2147483646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2147483646 h 10000"/>
                <a:gd name="T20" fmla="*/ 2147483646 w 10000"/>
                <a:gd name="T21" fmla="*/ 2147483646 h 10000"/>
                <a:gd name="T22" fmla="*/ 2147483646 w 10000"/>
                <a:gd name="T23" fmla="*/ 2147483646 h 10000"/>
                <a:gd name="T24" fmla="*/ 2147483646 w 10000"/>
                <a:gd name="T25" fmla="*/ 2147483646 h 10000"/>
                <a:gd name="T26" fmla="*/ 2147483646 w 10000"/>
                <a:gd name="T27" fmla="*/ 2147483646 h 10000"/>
                <a:gd name="T28" fmla="*/ 2147483646 w 10000"/>
                <a:gd name="T29" fmla="*/ 2147483646 h 10000"/>
                <a:gd name="T30" fmla="*/ 2147483646 w 10000"/>
                <a:gd name="T31" fmla="*/ 2147483646 h 10000"/>
                <a:gd name="T32" fmla="*/ 2147483646 w 10000"/>
                <a:gd name="T33" fmla="*/ 2147483646 h 10000"/>
                <a:gd name="T34" fmla="*/ 2147483646 w 10000"/>
                <a:gd name="T35" fmla="*/ 2147483646 h 10000"/>
                <a:gd name="T36" fmla="*/ 2147483646 w 10000"/>
                <a:gd name="T37" fmla="*/ 2147483646 h 10000"/>
                <a:gd name="T38" fmla="*/ 2147483646 w 10000"/>
                <a:gd name="T39" fmla="*/ 2147483646 h 10000"/>
                <a:gd name="T40" fmla="*/ 2147483646 w 10000"/>
                <a:gd name="T41" fmla="*/ 2147483646 h 10000"/>
                <a:gd name="T42" fmla="*/ 2147483646 w 10000"/>
                <a:gd name="T43" fmla="*/ 2147483646 h 10000"/>
                <a:gd name="T44" fmla="*/ 2147483646 w 10000"/>
                <a:gd name="T45" fmla="*/ 0 h 10000"/>
                <a:gd name="T46" fmla="*/ 2147483646 w 10000"/>
                <a:gd name="T47" fmla="*/ 2147483646 h 1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00" h="10000">
                  <a:moveTo>
                    <a:pt x="3636" y="522"/>
                  </a:moveTo>
                  <a:lnTo>
                    <a:pt x="909" y="522"/>
                  </a:lnTo>
                  <a:lnTo>
                    <a:pt x="0" y="0"/>
                  </a:lnTo>
                  <a:lnTo>
                    <a:pt x="0" y="1043"/>
                  </a:lnTo>
                  <a:lnTo>
                    <a:pt x="455" y="2609"/>
                  </a:lnTo>
                  <a:cubicBezTo>
                    <a:pt x="530" y="3171"/>
                    <a:pt x="604" y="3733"/>
                    <a:pt x="679" y="4295"/>
                  </a:cubicBezTo>
                  <a:cubicBezTo>
                    <a:pt x="604" y="4631"/>
                    <a:pt x="530" y="4968"/>
                    <a:pt x="455" y="5304"/>
                  </a:cubicBezTo>
                  <a:lnTo>
                    <a:pt x="909" y="6348"/>
                  </a:lnTo>
                  <a:lnTo>
                    <a:pt x="1598" y="7682"/>
                  </a:lnTo>
                  <a:cubicBezTo>
                    <a:pt x="2779" y="7328"/>
                    <a:pt x="2976" y="7157"/>
                    <a:pt x="4110" y="6712"/>
                  </a:cubicBezTo>
                  <a:lnTo>
                    <a:pt x="4448" y="7069"/>
                  </a:lnTo>
                  <a:lnTo>
                    <a:pt x="5010" y="7076"/>
                  </a:lnTo>
                  <a:cubicBezTo>
                    <a:pt x="5007" y="7181"/>
                    <a:pt x="5003" y="7286"/>
                    <a:pt x="5000" y="7391"/>
                  </a:cubicBezTo>
                  <a:lnTo>
                    <a:pt x="4545" y="7913"/>
                  </a:lnTo>
                  <a:lnTo>
                    <a:pt x="5000" y="10000"/>
                  </a:lnTo>
                  <a:lnTo>
                    <a:pt x="6818" y="8435"/>
                  </a:lnTo>
                  <a:lnTo>
                    <a:pt x="8636" y="8435"/>
                  </a:lnTo>
                  <a:lnTo>
                    <a:pt x="9545" y="6870"/>
                  </a:lnTo>
                  <a:lnTo>
                    <a:pt x="10000" y="6870"/>
                  </a:lnTo>
                  <a:lnTo>
                    <a:pt x="7273" y="5826"/>
                  </a:lnTo>
                  <a:cubicBezTo>
                    <a:pt x="7121" y="4927"/>
                    <a:pt x="6970" y="4029"/>
                    <a:pt x="6818" y="3130"/>
                  </a:cubicBezTo>
                  <a:lnTo>
                    <a:pt x="8636" y="1043"/>
                  </a:lnTo>
                  <a:lnTo>
                    <a:pt x="5909" y="0"/>
                  </a:lnTo>
                  <a:lnTo>
                    <a:pt x="3636" y="52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6" name="Freeform 361"/>
            <p:cNvSpPr>
              <a:spLocks/>
            </p:cNvSpPr>
            <p:nvPr/>
          </p:nvSpPr>
          <p:spPr bwMode="auto">
            <a:xfrm>
              <a:off x="4727672" y="3190319"/>
              <a:ext cx="105241" cy="61739"/>
            </a:xfrm>
            <a:custGeom>
              <a:avLst/>
              <a:gdLst>
                <a:gd name="T0" fmla="*/ 2147483646 w 10000"/>
                <a:gd name="T1" fmla="*/ 667136758 h 11466"/>
                <a:gd name="T2" fmla="*/ 2147483646 w 10000"/>
                <a:gd name="T3" fmla="*/ 427289987 h 11466"/>
                <a:gd name="T4" fmla="*/ 2147483646 w 10000"/>
                <a:gd name="T5" fmla="*/ 187444085 h 11466"/>
                <a:gd name="T6" fmla="*/ 2147483646 w 10000"/>
                <a:gd name="T7" fmla="*/ 373756277 h 11466"/>
                <a:gd name="T8" fmla="*/ 2147483646 w 10000"/>
                <a:gd name="T9" fmla="*/ 0 h 11466"/>
                <a:gd name="T10" fmla="*/ 2147483646 w 10000"/>
                <a:gd name="T11" fmla="*/ 360335251 h 11466"/>
                <a:gd name="T12" fmla="*/ 0 w 10000"/>
                <a:gd name="T13" fmla="*/ 1146828523 h 11466"/>
                <a:gd name="T14" fmla="*/ 0 w 10000"/>
                <a:gd name="T15" fmla="*/ 1626484974 h 11466"/>
                <a:gd name="T16" fmla="*/ 2147483646 w 10000"/>
                <a:gd name="T17" fmla="*/ 1626484974 h 11466"/>
                <a:gd name="T18" fmla="*/ 2147483646 w 10000"/>
                <a:gd name="T19" fmla="*/ 2147483646 h 11466"/>
                <a:gd name="T20" fmla="*/ 2147483646 w 10000"/>
                <a:gd name="T21" fmla="*/ 2106177682 h 11466"/>
                <a:gd name="T22" fmla="*/ 2147483646 w 10000"/>
                <a:gd name="T23" fmla="*/ 1733558458 h 11466"/>
                <a:gd name="T24" fmla="*/ 2147483646 w 10000"/>
                <a:gd name="T25" fmla="*/ 1946737734 h 11466"/>
                <a:gd name="T26" fmla="*/ 2147483646 w 10000"/>
                <a:gd name="T27" fmla="*/ 1626484974 h 11466"/>
                <a:gd name="T28" fmla="*/ 2147483646 w 10000"/>
                <a:gd name="T29" fmla="*/ 1386639106 h 11466"/>
                <a:gd name="T30" fmla="*/ 2147483646 w 10000"/>
                <a:gd name="T31" fmla="*/ 1386639106 h 11466"/>
                <a:gd name="T32" fmla="*/ 2147483646 w 10000"/>
                <a:gd name="T33" fmla="*/ 1146828523 h 11466"/>
                <a:gd name="T34" fmla="*/ 2147483646 w 10000"/>
                <a:gd name="T35" fmla="*/ 667136758 h 114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1466">
                  <a:moveTo>
                    <a:pt x="7857" y="3477"/>
                  </a:moveTo>
                  <a:lnTo>
                    <a:pt x="7143" y="2227"/>
                  </a:lnTo>
                  <a:lnTo>
                    <a:pt x="5714" y="977"/>
                  </a:lnTo>
                  <a:lnTo>
                    <a:pt x="3641" y="1948"/>
                  </a:lnTo>
                  <a:cubicBezTo>
                    <a:pt x="3532" y="1206"/>
                    <a:pt x="3354" y="742"/>
                    <a:pt x="3245" y="0"/>
                  </a:cubicBezTo>
                  <a:lnTo>
                    <a:pt x="2143" y="1878"/>
                  </a:lnTo>
                  <a:lnTo>
                    <a:pt x="0" y="5977"/>
                  </a:lnTo>
                  <a:lnTo>
                    <a:pt x="0" y="8477"/>
                  </a:lnTo>
                  <a:lnTo>
                    <a:pt x="1429" y="8477"/>
                  </a:lnTo>
                  <a:lnTo>
                    <a:pt x="2108" y="11466"/>
                  </a:lnTo>
                  <a:lnTo>
                    <a:pt x="2857" y="10977"/>
                  </a:lnTo>
                  <a:lnTo>
                    <a:pt x="4436" y="9035"/>
                  </a:lnTo>
                  <a:lnTo>
                    <a:pt x="5256" y="10146"/>
                  </a:lnTo>
                  <a:lnTo>
                    <a:pt x="7857" y="8477"/>
                  </a:lnTo>
                  <a:lnTo>
                    <a:pt x="9286" y="7227"/>
                  </a:lnTo>
                  <a:lnTo>
                    <a:pt x="10000" y="7227"/>
                  </a:lnTo>
                  <a:lnTo>
                    <a:pt x="9286" y="5977"/>
                  </a:lnTo>
                  <a:lnTo>
                    <a:pt x="7857" y="3477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7" name="Freeform 363"/>
            <p:cNvSpPr>
              <a:spLocks/>
            </p:cNvSpPr>
            <p:nvPr/>
          </p:nvSpPr>
          <p:spPr bwMode="auto">
            <a:xfrm>
              <a:off x="4675052" y="3051784"/>
              <a:ext cx="65775" cy="70774"/>
            </a:xfrm>
            <a:custGeom>
              <a:avLst/>
              <a:gdLst>
                <a:gd name="T0" fmla="*/ 2147483646 w 10056"/>
                <a:gd name="T1" fmla="*/ 2147483646 h 10000"/>
                <a:gd name="T2" fmla="*/ 2147483646 w 10056"/>
                <a:gd name="T3" fmla="*/ 2147483646 h 10000"/>
                <a:gd name="T4" fmla="*/ 2147483646 w 10056"/>
                <a:gd name="T5" fmla="*/ 2147483646 h 10000"/>
                <a:gd name="T6" fmla="*/ 2147483646 w 10056"/>
                <a:gd name="T7" fmla="*/ 2147483646 h 10000"/>
                <a:gd name="T8" fmla="*/ 2147483646 w 10056"/>
                <a:gd name="T9" fmla="*/ 2147483646 h 10000"/>
                <a:gd name="T10" fmla="*/ 2147483646 w 10056"/>
                <a:gd name="T11" fmla="*/ 2147483646 h 10000"/>
                <a:gd name="T12" fmla="*/ 2147483646 w 10056"/>
                <a:gd name="T13" fmla="*/ 2147483646 h 10000"/>
                <a:gd name="T14" fmla="*/ 2147483646 w 10056"/>
                <a:gd name="T15" fmla="*/ 2147483646 h 10000"/>
                <a:gd name="T16" fmla="*/ 2147483646 w 10056"/>
                <a:gd name="T17" fmla="*/ 2147483646 h 10000"/>
                <a:gd name="T18" fmla="*/ 2147483646 w 10056"/>
                <a:gd name="T19" fmla="*/ 2147483646 h 10000"/>
                <a:gd name="T20" fmla="*/ 2147483646 w 10056"/>
                <a:gd name="T21" fmla="*/ 1178100135 h 10000"/>
                <a:gd name="T22" fmla="*/ 2147483646 w 10056"/>
                <a:gd name="T23" fmla="*/ 1178100135 h 10000"/>
                <a:gd name="T24" fmla="*/ 2147483646 w 10056"/>
                <a:gd name="T25" fmla="*/ 0 h 10000"/>
                <a:gd name="T26" fmla="*/ 416029751 w 10056"/>
                <a:gd name="T27" fmla="*/ 1178100135 h 10000"/>
                <a:gd name="T28" fmla="*/ 0 w 10056"/>
                <a:gd name="T29" fmla="*/ 1251589635 h 10000"/>
                <a:gd name="T30" fmla="*/ 828348607 w 10056"/>
                <a:gd name="T31" fmla="*/ 2147483646 h 10000"/>
                <a:gd name="T32" fmla="*/ 2147483646 w 10056"/>
                <a:gd name="T33" fmla="*/ 2147483646 h 1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56" h="10000">
                  <a:moveTo>
                    <a:pt x="2389" y="4571"/>
                  </a:moveTo>
                  <a:lnTo>
                    <a:pt x="3355" y="6400"/>
                  </a:lnTo>
                  <a:lnTo>
                    <a:pt x="5288" y="7314"/>
                  </a:lnTo>
                  <a:lnTo>
                    <a:pt x="7050" y="8496"/>
                  </a:lnTo>
                  <a:lnTo>
                    <a:pt x="8865" y="10000"/>
                  </a:lnTo>
                  <a:cubicBezTo>
                    <a:pt x="8961" y="9105"/>
                    <a:pt x="9904" y="8423"/>
                    <a:pt x="10000" y="7528"/>
                  </a:cubicBezTo>
                  <a:lnTo>
                    <a:pt x="9327" y="5699"/>
                  </a:lnTo>
                  <a:cubicBezTo>
                    <a:pt x="9382" y="4965"/>
                    <a:pt x="10001" y="4016"/>
                    <a:pt x="10056" y="3282"/>
                  </a:cubicBezTo>
                  <a:lnTo>
                    <a:pt x="8639" y="2368"/>
                  </a:lnTo>
                  <a:lnTo>
                    <a:pt x="7220" y="1828"/>
                  </a:lnTo>
                  <a:lnTo>
                    <a:pt x="5288" y="914"/>
                  </a:lnTo>
                  <a:lnTo>
                    <a:pt x="3355" y="914"/>
                  </a:lnTo>
                  <a:lnTo>
                    <a:pt x="2389" y="0"/>
                  </a:lnTo>
                  <a:lnTo>
                    <a:pt x="457" y="914"/>
                  </a:lnTo>
                  <a:lnTo>
                    <a:pt x="0" y="971"/>
                  </a:lnTo>
                  <a:cubicBezTo>
                    <a:pt x="152" y="1866"/>
                    <a:pt x="757" y="2548"/>
                    <a:pt x="910" y="3443"/>
                  </a:cubicBezTo>
                  <a:lnTo>
                    <a:pt x="2389" y="457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8" name="Freeform 252"/>
            <p:cNvSpPr>
              <a:spLocks/>
            </p:cNvSpPr>
            <p:nvPr/>
          </p:nvSpPr>
          <p:spPr bwMode="auto">
            <a:xfrm rot="21133526">
              <a:off x="4888458" y="3218931"/>
              <a:ext cx="81854" cy="45175"/>
            </a:xfrm>
            <a:custGeom>
              <a:avLst/>
              <a:gdLst>
                <a:gd name="T0" fmla="*/ 0 w 1912593"/>
                <a:gd name="T1" fmla="*/ 0 h 1229193"/>
                <a:gd name="T2" fmla="*/ 0 w 1912593"/>
                <a:gd name="T3" fmla="*/ 0 h 1229193"/>
                <a:gd name="T4" fmla="*/ 0 w 1912593"/>
                <a:gd name="T5" fmla="*/ 0 h 1229193"/>
                <a:gd name="T6" fmla="*/ 0 w 1912593"/>
                <a:gd name="T7" fmla="*/ 0 h 1229193"/>
                <a:gd name="T8" fmla="*/ 0 w 1912593"/>
                <a:gd name="T9" fmla="*/ 0 h 1229193"/>
                <a:gd name="T10" fmla="*/ 0 w 1912593"/>
                <a:gd name="T11" fmla="*/ 0 h 1229193"/>
                <a:gd name="T12" fmla="*/ 0 w 1912593"/>
                <a:gd name="T13" fmla="*/ 0 h 1229193"/>
                <a:gd name="T14" fmla="*/ 0 w 1912593"/>
                <a:gd name="T15" fmla="*/ 0 h 1229193"/>
                <a:gd name="T16" fmla="*/ 0 w 1912593"/>
                <a:gd name="T17" fmla="*/ 0 h 122919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12593" h="1229193">
                  <a:moveTo>
                    <a:pt x="0" y="233280"/>
                  </a:moveTo>
                  <a:lnTo>
                    <a:pt x="83793" y="1154242"/>
                  </a:lnTo>
                  <a:lnTo>
                    <a:pt x="1103124" y="1229193"/>
                  </a:lnTo>
                  <a:lnTo>
                    <a:pt x="1912593" y="314793"/>
                  </a:lnTo>
                  <a:lnTo>
                    <a:pt x="1792672" y="0"/>
                  </a:lnTo>
                  <a:lnTo>
                    <a:pt x="1124055" y="252554"/>
                  </a:lnTo>
                  <a:cubicBezTo>
                    <a:pt x="892871" y="224853"/>
                    <a:pt x="379360" y="273001"/>
                    <a:pt x="148176" y="245300"/>
                  </a:cubicBezTo>
                  <a:lnTo>
                    <a:pt x="128763" y="242675"/>
                  </a:lnTo>
                  <a:lnTo>
                    <a:pt x="0" y="2332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9" name="Freeform 253"/>
            <p:cNvSpPr>
              <a:spLocks/>
            </p:cNvSpPr>
            <p:nvPr/>
          </p:nvSpPr>
          <p:spPr bwMode="auto">
            <a:xfrm>
              <a:off x="4892842" y="3227966"/>
              <a:ext cx="131552" cy="141547"/>
            </a:xfrm>
            <a:custGeom>
              <a:avLst/>
              <a:gdLst>
                <a:gd name="T0" fmla="*/ 0 w 3644175"/>
                <a:gd name="T1" fmla="*/ 0 h 3780713"/>
                <a:gd name="T2" fmla="*/ 0 w 3644175"/>
                <a:gd name="T3" fmla="*/ 0 h 3780713"/>
                <a:gd name="T4" fmla="*/ 0 w 3644175"/>
                <a:gd name="T5" fmla="*/ 0 h 3780713"/>
                <a:gd name="T6" fmla="*/ 0 w 3644175"/>
                <a:gd name="T7" fmla="*/ 0 h 3780713"/>
                <a:gd name="T8" fmla="*/ 0 w 3644175"/>
                <a:gd name="T9" fmla="*/ 0 h 3780713"/>
                <a:gd name="T10" fmla="*/ 0 w 3644175"/>
                <a:gd name="T11" fmla="*/ 0 h 3780713"/>
                <a:gd name="T12" fmla="*/ 0 w 3644175"/>
                <a:gd name="T13" fmla="*/ 0 h 3780713"/>
                <a:gd name="T14" fmla="*/ 0 w 3644175"/>
                <a:gd name="T15" fmla="*/ 0 h 3780713"/>
                <a:gd name="T16" fmla="*/ 0 w 3644175"/>
                <a:gd name="T17" fmla="*/ 0 h 3780713"/>
                <a:gd name="T18" fmla="*/ 0 w 3644175"/>
                <a:gd name="T19" fmla="*/ 0 h 3780713"/>
                <a:gd name="T20" fmla="*/ 0 w 3644175"/>
                <a:gd name="T21" fmla="*/ 0 h 3780713"/>
                <a:gd name="T22" fmla="*/ 0 w 3644175"/>
                <a:gd name="T23" fmla="*/ 0 h 3780713"/>
                <a:gd name="T24" fmla="*/ 0 w 3644175"/>
                <a:gd name="T25" fmla="*/ 0 h 3780713"/>
                <a:gd name="T26" fmla="*/ 0 w 3644175"/>
                <a:gd name="T27" fmla="*/ 0 h 3780713"/>
                <a:gd name="T28" fmla="*/ 0 w 3644175"/>
                <a:gd name="T29" fmla="*/ 0 h 3780713"/>
                <a:gd name="T30" fmla="*/ 0 w 3644175"/>
                <a:gd name="T31" fmla="*/ 0 h 3780713"/>
                <a:gd name="T32" fmla="*/ 0 w 3644175"/>
                <a:gd name="T33" fmla="*/ 0 h 3780713"/>
                <a:gd name="T34" fmla="*/ 0 w 3644175"/>
                <a:gd name="T35" fmla="*/ 0 h 3780713"/>
                <a:gd name="T36" fmla="*/ 0 w 3644175"/>
                <a:gd name="T37" fmla="*/ 0 h 3780713"/>
                <a:gd name="T38" fmla="*/ 0 w 3644175"/>
                <a:gd name="T39" fmla="*/ 0 h 37807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644175" h="3780713">
                  <a:moveTo>
                    <a:pt x="2018109" y="0"/>
                  </a:moveTo>
                  <a:lnTo>
                    <a:pt x="1131347" y="970851"/>
                  </a:lnTo>
                  <a:lnTo>
                    <a:pt x="106496" y="992543"/>
                  </a:lnTo>
                  <a:lnTo>
                    <a:pt x="0" y="1285960"/>
                  </a:lnTo>
                  <a:lnTo>
                    <a:pt x="250657" y="1838746"/>
                  </a:lnTo>
                  <a:lnTo>
                    <a:pt x="476240" y="1522355"/>
                  </a:lnTo>
                  <a:lnTo>
                    <a:pt x="637449" y="1360281"/>
                  </a:lnTo>
                  <a:lnTo>
                    <a:pt x="900975" y="1622129"/>
                  </a:lnTo>
                  <a:lnTo>
                    <a:pt x="1125827" y="2401618"/>
                  </a:lnTo>
                  <a:lnTo>
                    <a:pt x="1614428" y="2951232"/>
                  </a:lnTo>
                  <a:cubicBezTo>
                    <a:pt x="2156362" y="3074631"/>
                    <a:pt x="2677783" y="3504219"/>
                    <a:pt x="3209460" y="3780713"/>
                  </a:cubicBezTo>
                  <a:lnTo>
                    <a:pt x="1455611" y="1667100"/>
                  </a:lnTo>
                  <a:lnTo>
                    <a:pt x="1543203" y="1366330"/>
                  </a:lnTo>
                  <a:lnTo>
                    <a:pt x="1755414" y="1517198"/>
                  </a:lnTo>
                  <a:lnTo>
                    <a:pt x="3644175" y="1622129"/>
                  </a:lnTo>
                  <a:lnTo>
                    <a:pt x="3394079" y="610450"/>
                  </a:lnTo>
                  <a:lnTo>
                    <a:pt x="3170007" y="750786"/>
                  </a:lnTo>
                  <a:lnTo>
                    <a:pt x="2480463" y="641709"/>
                  </a:lnTo>
                  <a:lnTo>
                    <a:pt x="2078068" y="137463"/>
                  </a:lnTo>
                  <a:lnTo>
                    <a:pt x="201810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0" name="Freeform 254"/>
            <p:cNvSpPr>
              <a:spLocks/>
            </p:cNvSpPr>
            <p:nvPr/>
          </p:nvSpPr>
          <p:spPr bwMode="auto">
            <a:xfrm>
              <a:off x="4946925" y="3277657"/>
              <a:ext cx="90625" cy="93361"/>
            </a:xfrm>
            <a:custGeom>
              <a:avLst/>
              <a:gdLst>
                <a:gd name="T0" fmla="*/ 0 w 2398426"/>
                <a:gd name="T1" fmla="*/ 0 h 2488994"/>
                <a:gd name="T2" fmla="*/ 0 w 2398426"/>
                <a:gd name="T3" fmla="*/ 0 h 2488994"/>
                <a:gd name="T4" fmla="*/ 0 w 2398426"/>
                <a:gd name="T5" fmla="*/ 0 h 2488994"/>
                <a:gd name="T6" fmla="*/ 0 w 2398426"/>
                <a:gd name="T7" fmla="*/ 0 h 2488994"/>
                <a:gd name="T8" fmla="*/ 0 w 2398426"/>
                <a:gd name="T9" fmla="*/ 0 h 2488994"/>
                <a:gd name="T10" fmla="*/ 0 w 2398426"/>
                <a:gd name="T11" fmla="*/ 0 h 2488994"/>
                <a:gd name="T12" fmla="*/ 0 w 2398426"/>
                <a:gd name="T13" fmla="*/ 0 h 2488994"/>
                <a:gd name="T14" fmla="*/ 0 w 2398426"/>
                <a:gd name="T15" fmla="*/ 0 h 248899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398426" h="2488994">
                  <a:moveTo>
                    <a:pt x="2113613" y="269822"/>
                  </a:moveTo>
                  <a:lnTo>
                    <a:pt x="254833" y="149901"/>
                  </a:lnTo>
                  <a:lnTo>
                    <a:pt x="74951" y="0"/>
                  </a:lnTo>
                  <a:lnTo>
                    <a:pt x="0" y="329783"/>
                  </a:lnTo>
                  <a:lnTo>
                    <a:pt x="1691048" y="2488994"/>
                  </a:lnTo>
                  <a:lnTo>
                    <a:pt x="2177788" y="1556144"/>
                  </a:lnTo>
                  <a:lnTo>
                    <a:pt x="2398426" y="1439055"/>
                  </a:lnTo>
                  <a:lnTo>
                    <a:pt x="2113613" y="26982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1" name="Freeform 255"/>
            <p:cNvSpPr>
              <a:spLocks/>
            </p:cNvSpPr>
            <p:nvPr/>
          </p:nvSpPr>
          <p:spPr bwMode="auto">
            <a:xfrm rot="286500">
              <a:off x="5012701" y="3334878"/>
              <a:ext cx="40927" cy="55716"/>
            </a:xfrm>
            <a:custGeom>
              <a:avLst/>
              <a:gdLst>
                <a:gd name="T0" fmla="*/ 0 w 1259245"/>
                <a:gd name="T1" fmla="*/ 0 h 1506961"/>
                <a:gd name="T2" fmla="*/ 0 w 1259245"/>
                <a:gd name="T3" fmla="*/ 0 h 1506961"/>
                <a:gd name="T4" fmla="*/ 0 w 1259245"/>
                <a:gd name="T5" fmla="*/ 0 h 1506961"/>
                <a:gd name="T6" fmla="*/ 0 w 1259245"/>
                <a:gd name="T7" fmla="*/ 0 h 1506961"/>
                <a:gd name="T8" fmla="*/ 0 w 1259245"/>
                <a:gd name="T9" fmla="*/ 0 h 15069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9245" h="1506961">
                  <a:moveTo>
                    <a:pt x="459998" y="0"/>
                  </a:moveTo>
                  <a:lnTo>
                    <a:pt x="0" y="967315"/>
                  </a:lnTo>
                  <a:lnTo>
                    <a:pt x="599606" y="1506961"/>
                  </a:lnTo>
                  <a:lnTo>
                    <a:pt x="1259243" y="571259"/>
                  </a:lnTo>
                  <a:lnTo>
                    <a:pt x="459998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2" name="Freeform 256"/>
            <p:cNvSpPr>
              <a:spLocks/>
            </p:cNvSpPr>
            <p:nvPr/>
          </p:nvSpPr>
          <p:spPr bwMode="auto">
            <a:xfrm>
              <a:off x="5014163" y="3238506"/>
              <a:ext cx="65775" cy="54210"/>
            </a:xfrm>
            <a:custGeom>
              <a:avLst/>
              <a:gdLst>
                <a:gd name="T0" fmla="*/ 0 w 1678899"/>
                <a:gd name="T1" fmla="*/ 0 h 1259174"/>
                <a:gd name="T2" fmla="*/ 0 w 1678899"/>
                <a:gd name="T3" fmla="*/ 0 h 1259174"/>
                <a:gd name="T4" fmla="*/ 0 w 1678899"/>
                <a:gd name="T5" fmla="*/ 0 h 1259174"/>
                <a:gd name="T6" fmla="*/ 0 w 1678899"/>
                <a:gd name="T7" fmla="*/ 0 h 1259174"/>
                <a:gd name="T8" fmla="*/ 0 w 1678899"/>
                <a:gd name="T9" fmla="*/ 0 h 1259174"/>
                <a:gd name="T10" fmla="*/ 0 w 1678899"/>
                <a:gd name="T11" fmla="*/ 0 h 12591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78899" h="1259174">
                  <a:moveTo>
                    <a:pt x="209862" y="1154242"/>
                  </a:moveTo>
                  <a:lnTo>
                    <a:pt x="1678899" y="1259174"/>
                  </a:lnTo>
                  <a:lnTo>
                    <a:pt x="1663908" y="899410"/>
                  </a:lnTo>
                  <a:lnTo>
                    <a:pt x="854439" y="0"/>
                  </a:lnTo>
                  <a:lnTo>
                    <a:pt x="0" y="269823"/>
                  </a:lnTo>
                  <a:lnTo>
                    <a:pt x="209862" y="115424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3" name="Freeform 257"/>
            <p:cNvSpPr>
              <a:spLocks/>
            </p:cNvSpPr>
            <p:nvPr/>
          </p:nvSpPr>
          <p:spPr bwMode="auto">
            <a:xfrm>
              <a:off x="5025856" y="3288198"/>
              <a:ext cx="92086" cy="91855"/>
            </a:xfrm>
            <a:custGeom>
              <a:avLst/>
              <a:gdLst>
                <a:gd name="T0" fmla="*/ 0 w 2578308"/>
                <a:gd name="T1" fmla="*/ 0 h 2368446"/>
                <a:gd name="T2" fmla="*/ 0 w 2578308"/>
                <a:gd name="T3" fmla="*/ 0 h 2368446"/>
                <a:gd name="T4" fmla="*/ 0 w 2578308"/>
                <a:gd name="T5" fmla="*/ 0 h 2368446"/>
                <a:gd name="T6" fmla="*/ 0 w 2578308"/>
                <a:gd name="T7" fmla="*/ 0 h 2368446"/>
                <a:gd name="T8" fmla="*/ 0 w 2578308"/>
                <a:gd name="T9" fmla="*/ 0 h 2368446"/>
                <a:gd name="T10" fmla="*/ 0 w 2578308"/>
                <a:gd name="T11" fmla="*/ 0 h 2368446"/>
                <a:gd name="T12" fmla="*/ 0 w 2578308"/>
                <a:gd name="T13" fmla="*/ 0 h 2368446"/>
                <a:gd name="T14" fmla="*/ 0 w 2578308"/>
                <a:gd name="T15" fmla="*/ 0 h 2368446"/>
                <a:gd name="T16" fmla="*/ 0 w 2578308"/>
                <a:gd name="T17" fmla="*/ 0 h 2368446"/>
                <a:gd name="T18" fmla="*/ 0 w 2578308"/>
                <a:gd name="T19" fmla="*/ 0 h 2368446"/>
                <a:gd name="T20" fmla="*/ 0 w 2578308"/>
                <a:gd name="T21" fmla="*/ 0 h 2368446"/>
                <a:gd name="T22" fmla="*/ 0 w 2578308"/>
                <a:gd name="T23" fmla="*/ 0 h 23684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78308" h="2368446">
                  <a:moveTo>
                    <a:pt x="0" y="0"/>
                  </a:moveTo>
                  <a:lnTo>
                    <a:pt x="254833" y="1154242"/>
                  </a:lnTo>
                  <a:lnTo>
                    <a:pt x="104931" y="1259173"/>
                  </a:lnTo>
                  <a:lnTo>
                    <a:pt x="855821" y="1873287"/>
                  </a:lnTo>
                  <a:lnTo>
                    <a:pt x="1111621" y="1524299"/>
                  </a:lnTo>
                  <a:lnTo>
                    <a:pt x="1734645" y="2033965"/>
                  </a:lnTo>
                  <a:lnTo>
                    <a:pt x="1633928" y="2368446"/>
                  </a:lnTo>
                  <a:lnTo>
                    <a:pt x="2338465" y="2263514"/>
                  </a:lnTo>
                  <a:lnTo>
                    <a:pt x="2578308" y="1514006"/>
                  </a:lnTo>
                  <a:lnTo>
                    <a:pt x="2113613" y="224852"/>
                  </a:lnTo>
                  <a:lnTo>
                    <a:pt x="1439056" y="14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4" name="Freeform 258"/>
            <p:cNvSpPr>
              <a:spLocks/>
            </p:cNvSpPr>
            <p:nvPr/>
          </p:nvSpPr>
          <p:spPr bwMode="auto">
            <a:xfrm>
              <a:off x="5050705" y="3345420"/>
              <a:ext cx="36543" cy="46680"/>
            </a:xfrm>
            <a:custGeom>
              <a:avLst/>
              <a:gdLst>
                <a:gd name="T0" fmla="*/ 0 w 1097536"/>
                <a:gd name="T1" fmla="*/ 0 h 1184223"/>
                <a:gd name="T2" fmla="*/ 0 w 1097536"/>
                <a:gd name="T3" fmla="*/ 0 h 1184223"/>
                <a:gd name="T4" fmla="*/ 0 w 1097536"/>
                <a:gd name="T5" fmla="*/ 0 h 1184223"/>
                <a:gd name="T6" fmla="*/ 0 w 1097536"/>
                <a:gd name="T7" fmla="*/ 0 h 1184223"/>
                <a:gd name="T8" fmla="*/ 0 w 1097536"/>
                <a:gd name="T9" fmla="*/ 0 h 1184223"/>
                <a:gd name="T10" fmla="*/ 0 w 1097536"/>
                <a:gd name="T11" fmla="*/ 0 h 11842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97536" h="1184223">
                  <a:moveTo>
                    <a:pt x="482939" y="0"/>
                  </a:moveTo>
                  <a:lnTo>
                    <a:pt x="0" y="416160"/>
                  </a:lnTo>
                  <a:lnTo>
                    <a:pt x="452959" y="1184223"/>
                  </a:lnTo>
                  <a:lnTo>
                    <a:pt x="1067555" y="824459"/>
                  </a:lnTo>
                  <a:lnTo>
                    <a:pt x="1097536" y="509666"/>
                  </a:lnTo>
                  <a:lnTo>
                    <a:pt x="48293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5" name="Freeform 259"/>
            <p:cNvSpPr>
              <a:spLocks/>
            </p:cNvSpPr>
            <p:nvPr/>
          </p:nvSpPr>
          <p:spPr bwMode="auto">
            <a:xfrm>
              <a:off x="5066784" y="3371018"/>
              <a:ext cx="59929" cy="57221"/>
            </a:xfrm>
            <a:custGeom>
              <a:avLst/>
              <a:gdLst>
                <a:gd name="T0" fmla="*/ 0 w 1852882"/>
                <a:gd name="T1" fmla="*/ 0 h 1521018"/>
                <a:gd name="T2" fmla="*/ 0 w 1852882"/>
                <a:gd name="T3" fmla="*/ 0 h 1521018"/>
                <a:gd name="T4" fmla="*/ 0 w 1852882"/>
                <a:gd name="T5" fmla="*/ 0 h 1521018"/>
                <a:gd name="T6" fmla="*/ 0 w 1852882"/>
                <a:gd name="T7" fmla="*/ 0 h 1521018"/>
                <a:gd name="T8" fmla="*/ 0 w 1852882"/>
                <a:gd name="T9" fmla="*/ 0 h 1521018"/>
                <a:gd name="T10" fmla="*/ 0 w 1852882"/>
                <a:gd name="T11" fmla="*/ 0 h 1521018"/>
                <a:gd name="T12" fmla="*/ 0 w 1852882"/>
                <a:gd name="T13" fmla="*/ 0 h 1521018"/>
                <a:gd name="T14" fmla="*/ 0 w 1852882"/>
                <a:gd name="T15" fmla="*/ 0 h 1521018"/>
                <a:gd name="T16" fmla="*/ 0 w 1852882"/>
                <a:gd name="T17" fmla="*/ 0 h 1521018"/>
                <a:gd name="T18" fmla="*/ 0 w 1852882"/>
                <a:gd name="T19" fmla="*/ 0 h 1521018"/>
                <a:gd name="T20" fmla="*/ 0 w 1852882"/>
                <a:gd name="T21" fmla="*/ 0 h 15210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52882" h="1521018">
                  <a:moveTo>
                    <a:pt x="0" y="507061"/>
                  </a:moveTo>
                  <a:lnTo>
                    <a:pt x="0" y="1211599"/>
                  </a:lnTo>
                  <a:lnTo>
                    <a:pt x="435424" y="1521018"/>
                  </a:lnTo>
                  <a:lnTo>
                    <a:pt x="839449" y="1391481"/>
                  </a:lnTo>
                  <a:lnTo>
                    <a:pt x="1763339" y="952692"/>
                  </a:lnTo>
                  <a:lnTo>
                    <a:pt x="1852882" y="743963"/>
                  </a:lnTo>
                  <a:lnTo>
                    <a:pt x="1756379" y="372784"/>
                  </a:lnTo>
                  <a:lnTo>
                    <a:pt x="1563372" y="307281"/>
                  </a:lnTo>
                  <a:lnTo>
                    <a:pt x="1370668" y="0"/>
                  </a:lnTo>
                  <a:lnTo>
                    <a:pt x="644577" y="177278"/>
                  </a:lnTo>
                  <a:lnTo>
                    <a:pt x="0" y="50706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6" name="Freeform 260"/>
            <p:cNvSpPr>
              <a:spLocks/>
            </p:cNvSpPr>
            <p:nvPr/>
          </p:nvSpPr>
          <p:spPr bwMode="auto">
            <a:xfrm>
              <a:off x="5030241" y="3361983"/>
              <a:ext cx="49697" cy="103902"/>
            </a:xfrm>
            <a:custGeom>
              <a:avLst/>
              <a:gdLst>
                <a:gd name="T0" fmla="*/ 0 w 444747"/>
                <a:gd name="T1" fmla="*/ 0 h 900169"/>
                <a:gd name="T2" fmla="*/ 0 w 444747"/>
                <a:gd name="T3" fmla="*/ 0 h 900169"/>
                <a:gd name="T4" fmla="*/ 0 w 444747"/>
                <a:gd name="T5" fmla="*/ 0 h 900169"/>
                <a:gd name="T6" fmla="*/ 0 w 444747"/>
                <a:gd name="T7" fmla="*/ 0 h 900169"/>
                <a:gd name="T8" fmla="*/ 0 w 444747"/>
                <a:gd name="T9" fmla="*/ 0 h 900169"/>
                <a:gd name="T10" fmla="*/ 0 w 444747"/>
                <a:gd name="T11" fmla="*/ 0 h 900169"/>
                <a:gd name="T12" fmla="*/ 0 w 444747"/>
                <a:gd name="T13" fmla="*/ 0 h 900169"/>
                <a:gd name="T14" fmla="*/ 0 w 444747"/>
                <a:gd name="T15" fmla="*/ 0 h 900169"/>
                <a:gd name="T16" fmla="*/ 0 w 444747"/>
                <a:gd name="T17" fmla="*/ 0 h 900169"/>
                <a:gd name="T18" fmla="*/ 0 w 444747"/>
                <a:gd name="T19" fmla="*/ 0 h 900169"/>
                <a:gd name="T20" fmla="*/ 0 w 444747"/>
                <a:gd name="T21" fmla="*/ 0 h 900169"/>
                <a:gd name="T22" fmla="*/ 0 w 444747"/>
                <a:gd name="T23" fmla="*/ 0 h 90016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4747" h="900169">
                  <a:moveTo>
                    <a:pt x="0" y="238385"/>
                  </a:moveTo>
                  <a:lnTo>
                    <a:pt x="99623" y="298870"/>
                  </a:lnTo>
                  <a:lnTo>
                    <a:pt x="99623" y="715154"/>
                  </a:lnTo>
                  <a:lnTo>
                    <a:pt x="263290" y="900169"/>
                  </a:lnTo>
                  <a:lnTo>
                    <a:pt x="327333" y="836125"/>
                  </a:lnTo>
                  <a:lnTo>
                    <a:pt x="384261" y="683132"/>
                  </a:lnTo>
                  <a:lnTo>
                    <a:pt x="362913" y="608414"/>
                  </a:lnTo>
                  <a:lnTo>
                    <a:pt x="444747" y="576393"/>
                  </a:lnTo>
                  <a:lnTo>
                    <a:pt x="327333" y="476769"/>
                  </a:lnTo>
                  <a:lnTo>
                    <a:pt x="327333" y="266849"/>
                  </a:lnTo>
                  <a:lnTo>
                    <a:pt x="185014" y="0"/>
                  </a:lnTo>
                  <a:lnTo>
                    <a:pt x="0" y="23838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7" name="Freeform 257"/>
            <p:cNvSpPr>
              <a:spLocks/>
            </p:cNvSpPr>
            <p:nvPr/>
          </p:nvSpPr>
          <p:spPr bwMode="auto">
            <a:xfrm>
              <a:off x="4324247" y="2901202"/>
              <a:ext cx="100856" cy="155100"/>
            </a:xfrm>
            <a:custGeom>
              <a:avLst/>
              <a:gdLst>
                <a:gd name="T0" fmla="*/ 2147483646 w 84"/>
                <a:gd name="T1" fmla="*/ 2147483646 h 126"/>
                <a:gd name="T2" fmla="*/ 0 w 84"/>
                <a:gd name="T3" fmla="*/ 2147483646 h 126"/>
                <a:gd name="T4" fmla="*/ 0 w 84"/>
                <a:gd name="T5" fmla="*/ 2147483646 h 126"/>
                <a:gd name="T6" fmla="*/ 2147483646 w 84"/>
                <a:gd name="T7" fmla="*/ 2147483646 h 126"/>
                <a:gd name="T8" fmla="*/ 2147483646 w 84"/>
                <a:gd name="T9" fmla="*/ 2147483646 h 126"/>
                <a:gd name="T10" fmla="*/ 2147483646 w 84"/>
                <a:gd name="T11" fmla="*/ 2147483646 h 126"/>
                <a:gd name="T12" fmla="*/ 2147483646 w 84"/>
                <a:gd name="T13" fmla="*/ 2147483646 h 126"/>
                <a:gd name="T14" fmla="*/ 2147483646 w 84"/>
                <a:gd name="T15" fmla="*/ 2147483646 h 126"/>
                <a:gd name="T16" fmla="*/ 2147483646 w 84"/>
                <a:gd name="T17" fmla="*/ 2147483646 h 126"/>
                <a:gd name="T18" fmla="*/ 2147483646 w 84"/>
                <a:gd name="T19" fmla="*/ 2147483646 h 126"/>
                <a:gd name="T20" fmla="*/ 2147483646 w 84"/>
                <a:gd name="T21" fmla="*/ 2147483646 h 126"/>
                <a:gd name="T22" fmla="*/ 2147483646 w 84"/>
                <a:gd name="T23" fmla="*/ 0 h 126"/>
                <a:gd name="T24" fmla="*/ 2147483646 w 84"/>
                <a:gd name="T25" fmla="*/ 2147483646 h 126"/>
                <a:gd name="T26" fmla="*/ 2147483646 w 84"/>
                <a:gd name="T27" fmla="*/ 2147483646 h 126"/>
                <a:gd name="T28" fmla="*/ 2147483646 w 84"/>
                <a:gd name="T29" fmla="*/ 2147483646 h 126"/>
                <a:gd name="T30" fmla="*/ 2147483646 w 84"/>
                <a:gd name="T31" fmla="*/ 2147483646 h 126"/>
                <a:gd name="T32" fmla="*/ 2147483646 w 84"/>
                <a:gd name="T33" fmla="*/ 2147483646 h 126"/>
                <a:gd name="T34" fmla="*/ 2147483646 w 84"/>
                <a:gd name="T35" fmla="*/ 2147483646 h 126"/>
                <a:gd name="T36" fmla="*/ 2147483646 w 84"/>
                <a:gd name="T37" fmla="*/ 2147483646 h 126"/>
                <a:gd name="T38" fmla="*/ 2147483646 w 84"/>
                <a:gd name="T39" fmla="*/ 2147483646 h 126"/>
                <a:gd name="T40" fmla="*/ 2147483646 w 84"/>
                <a:gd name="T41" fmla="*/ 2147483646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4" h="126">
                  <a:moveTo>
                    <a:pt x="18" y="126"/>
                  </a:moveTo>
                  <a:lnTo>
                    <a:pt x="0" y="114"/>
                  </a:lnTo>
                  <a:lnTo>
                    <a:pt x="0" y="102"/>
                  </a:lnTo>
                  <a:lnTo>
                    <a:pt x="6" y="96"/>
                  </a:lnTo>
                  <a:lnTo>
                    <a:pt x="12" y="84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18"/>
                  </a:lnTo>
                  <a:lnTo>
                    <a:pt x="84" y="30"/>
                  </a:lnTo>
                  <a:lnTo>
                    <a:pt x="72" y="42"/>
                  </a:lnTo>
                  <a:lnTo>
                    <a:pt x="78" y="66"/>
                  </a:lnTo>
                  <a:lnTo>
                    <a:pt x="72" y="96"/>
                  </a:lnTo>
                  <a:lnTo>
                    <a:pt x="54" y="102"/>
                  </a:lnTo>
                  <a:lnTo>
                    <a:pt x="18" y="1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8" name="Freeform 258"/>
            <p:cNvSpPr>
              <a:spLocks/>
            </p:cNvSpPr>
            <p:nvPr/>
          </p:nvSpPr>
          <p:spPr bwMode="auto">
            <a:xfrm>
              <a:off x="5777164" y="1634805"/>
              <a:ext cx="401964" cy="528543"/>
            </a:xfrm>
            <a:custGeom>
              <a:avLst/>
              <a:gdLst>
                <a:gd name="T0" fmla="*/ 2147483646 w 336"/>
                <a:gd name="T1" fmla="*/ 2147483646 h 427"/>
                <a:gd name="T2" fmla="*/ 2147483646 w 336"/>
                <a:gd name="T3" fmla="*/ 2147483646 h 427"/>
                <a:gd name="T4" fmla="*/ 2147483646 w 336"/>
                <a:gd name="T5" fmla="*/ 2147483646 h 427"/>
                <a:gd name="T6" fmla="*/ 2147483646 w 336"/>
                <a:gd name="T7" fmla="*/ 2147483646 h 427"/>
                <a:gd name="T8" fmla="*/ 2147483646 w 336"/>
                <a:gd name="T9" fmla="*/ 2147483646 h 427"/>
                <a:gd name="T10" fmla="*/ 2147483646 w 336"/>
                <a:gd name="T11" fmla="*/ 2147483646 h 427"/>
                <a:gd name="T12" fmla="*/ 2147483646 w 336"/>
                <a:gd name="T13" fmla="*/ 2147483646 h 427"/>
                <a:gd name="T14" fmla="*/ 2147483646 w 336"/>
                <a:gd name="T15" fmla="*/ 2147483646 h 427"/>
                <a:gd name="T16" fmla="*/ 2147483646 w 336"/>
                <a:gd name="T17" fmla="*/ 2147483646 h 427"/>
                <a:gd name="T18" fmla="*/ 2147483646 w 336"/>
                <a:gd name="T19" fmla="*/ 2147483646 h 427"/>
                <a:gd name="T20" fmla="*/ 2147483646 w 336"/>
                <a:gd name="T21" fmla="*/ 2147483646 h 427"/>
                <a:gd name="T22" fmla="*/ 2147483646 w 336"/>
                <a:gd name="T23" fmla="*/ 0 h 427"/>
                <a:gd name="T24" fmla="*/ 2147483646 w 336"/>
                <a:gd name="T25" fmla="*/ 2147483646 h 427"/>
                <a:gd name="T26" fmla="*/ 2147483646 w 336"/>
                <a:gd name="T27" fmla="*/ 2147483646 h 427"/>
                <a:gd name="T28" fmla="*/ 2147483646 w 336"/>
                <a:gd name="T29" fmla="*/ 2147483646 h 427"/>
                <a:gd name="T30" fmla="*/ 2147483646 w 336"/>
                <a:gd name="T31" fmla="*/ 2147483646 h 427"/>
                <a:gd name="T32" fmla="*/ 2147483646 w 336"/>
                <a:gd name="T33" fmla="*/ 2147483646 h 427"/>
                <a:gd name="T34" fmla="*/ 2147483646 w 336"/>
                <a:gd name="T35" fmla="*/ 2147483646 h 427"/>
                <a:gd name="T36" fmla="*/ 2147483646 w 336"/>
                <a:gd name="T37" fmla="*/ 2147483646 h 427"/>
                <a:gd name="T38" fmla="*/ 2147483646 w 336"/>
                <a:gd name="T39" fmla="*/ 2147483646 h 427"/>
                <a:gd name="T40" fmla="*/ 2147483646 w 336"/>
                <a:gd name="T41" fmla="*/ 2147483646 h 427"/>
                <a:gd name="T42" fmla="*/ 2147483646 w 336"/>
                <a:gd name="T43" fmla="*/ 2147483646 h 427"/>
                <a:gd name="T44" fmla="*/ 2147483646 w 336"/>
                <a:gd name="T45" fmla="*/ 2147483646 h 427"/>
                <a:gd name="T46" fmla="*/ 2147483646 w 336"/>
                <a:gd name="T47" fmla="*/ 2147483646 h 427"/>
                <a:gd name="T48" fmla="*/ 2147483646 w 336"/>
                <a:gd name="T49" fmla="*/ 2147483646 h 427"/>
                <a:gd name="T50" fmla="*/ 2147483646 w 336"/>
                <a:gd name="T51" fmla="*/ 2147483646 h 427"/>
                <a:gd name="T52" fmla="*/ 2147483646 w 336"/>
                <a:gd name="T53" fmla="*/ 2147483646 h 427"/>
                <a:gd name="T54" fmla="*/ 0 w 336"/>
                <a:gd name="T55" fmla="*/ 2147483646 h 427"/>
                <a:gd name="T56" fmla="*/ 2147483646 w 336"/>
                <a:gd name="T57" fmla="*/ 2147483646 h 427"/>
                <a:gd name="T58" fmla="*/ 2147483646 w 336"/>
                <a:gd name="T59" fmla="*/ 2147483646 h 427"/>
                <a:gd name="T60" fmla="*/ 2147483646 w 336"/>
                <a:gd name="T61" fmla="*/ 2147483646 h 427"/>
                <a:gd name="T62" fmla="*/ 2147483646 w 336"/>
                <a:gd name="T63" fmla="*/ 2147483646 h 427"/>
                <a:gd name="T64" fmla="*/ 2147483646 w 336"/>
                <a:gd name="T65" fmla="*/ 2147483646 h 4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36" h="427">
                  <a:moveTo>
                    <a:pt x="120" y="427"/>
                  </a:moveTo>
                  <a:lnTo>
                    <a:pt x="96" y="397"/>
                  </a:lnTo>
                  <a:lnTo>
                    <a:pt x="78" y="325"/>
                  </a:lnTo>
                  <a:lnTo>
                    <a:pt x="96" y="282"/>
                  </a:lnTo>
                  <a:lnTo>
                    <a:pt x="144" y="180"/>
                  </a:lnTo>
                  <a:lnTo>
                    <a:pt x="192" y="150"/>
                  </a:lnTo>
                  <a:lnTo>
                    <a:pt x="222" y="114"/>
                  </a:lnTo>
                  <a:lnTo>
                    <a:pt x="252" y="96"/>
                  </a:lnTo>
                  <a:lnTo>
                    <a:pt x="294" y="72"/>
                  </a:lnTo>
                  <a:lnTo>
                    <a:pt x="336" y="30"/>
                  </a:lnTo>
                  <a:lnTo>
                    <a:pt x="330" y="6"/>
                  </a:lnTo>
                  <a:lnTo>
                    <a:pt x="294" y="0"/>
                  </a:lnTo>
                  <a:lnTo>
                    <a:pt x="270" y="24"/>
                  </a:lnTo>
                  <a:lnTo>
                    <a:pt x="252" y="42"/>
                  </a:lnTo>
                  <a:lnTo>
                    <a:pt x="222" y="48"/>
                  </a:lnTo>
                  <a:lnTo>
                    <a:pt x="186" y="48"/>
                  </a:lnTo>
                  <a:lnTo>
                    <a:pt x="174" y="60"/>
                  </a:lnTo>
                  <a:lnTo>
                    <a:pt x="162" y="78"/>
                  </a:lnTo>
                  <a:lnTo>
                    <a:pt x="114" y="126"/>
                  </a:lnTo>
                  <a:lnTo>
                    <a:pt x="90" y="138"/>
                  </a:lnTo>
                  <a:lnTo>
                    <a:pt x="84" y="168"/>
                  </a:lnTo>
                  <a:lnTo>
                    <a:pt x="66" y="186"/>
                  </a:lnTo>
                  <a:lnTo>
                    <a:pt x="42" y="216"/>
                  </a:lnTo>
                  <a:lnTo>
                    <a:pt x="42" y="240"/>
                  </a:lnTo>
                  <a:lnTo>
                    <a:pt x="30" y="270"/>
                  </a:lnTo>
                  <a:lnTo>
                    <a:pt x="12" y="295"/>
                  </a:lnTo>
                  <a:lnTo>
                    <a:pt x="18" y="325"/>
                  </a:lnTo>
                  <a:lnTo>
                    <a:pt x="0" y="349"/>
                  </a:lnTo>
                  <a:lnTo>
                    <a:pt x="18" y="391"/>
                  </a:lnTo>
                  <a:lnTo>
                    <a:pt x="48" y="403"/>
                  </a:lnTo>
                  <a:lnTo>
                    <a:pt x="54" y="415"/>
                  </a:lnTo>
                  <a:lnTo>
                    <a:pt x="72" y="421"/>
                  </a:lnTo>
                  <a:lnTo>
                    <a:pt x="120" y="42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9" name="Freeform 259"/>
            <p:cNvSpPr>
              <a:spLocks/>
            </p:cNvSpPr>
            <p:nvPr/>
          </p:nvSpPr>
          <p:spPr bwMode="auto">
            <a:xfrm>
              <a:off x="5538908" y="4744328"/>
              <a:ext cx="153478" cy="328269"/>
            </a:xfrm>
            <a:custGeom>
              <a:avLst/>
              <a:gdLst>
                <a:gd name="T0" fmla="*/ 2147483646 w 126"/>
                <a:gd name="T1" fmla="*/ 2147483646 h 265"/>
                <a:gd name="T2" fmla="*/ 0 w 126"/>
                <a:gd name="T3" fmla="*/ 2147483646 h 265"/>
                <a:gd name="T4" fmla="*/ 2147483646 w 126"/>
                <a:gd name="T5" fmla="*/ 2147483646 h 265"/>
                <a:gd name="T6" fmla="*/ 2147483646 w 126"/>
                <a:gd name="T7" fmla="*/ 2147483646 h 265"/>
                <a:gd name="T8" fmla="*/ 2147483646 w 126"/>
                <a:gd name="T9" fmla="*/ 2147483646 h 265"/>
                <a:gd name="T10" fmla="*/ 2147483646 w 126"/>
                <a:gd name="T11" fmla="*/ 2147483646 h 265"/>
                <a:gd name="T12" fmla="*/ 2147483646 w 126"/>
                <a:gd name="T13" fmla="*/ 2147483646 h 265"/>
                <a:gd name="T14" fmla="*/ 2147483646 w 126"/>
                <a:gd name="T15" fmla="*/ 2147483646 h 265"/>
                <a:gd name="T16" fmla="*/ 2147483646 w 126"/>
                <a:gd name="T17" fmla="*/ 0 h 265"/>
                <a:gd name="T18" fmla="*/ 2147483646 w 126"/>
                <a:gd name="T19" fmla="*/ 2147483646 h 265"/>
                <a:gd name="T20" fmla="*/ 2147483646 w 126"/>
                <a:gd name="T21" fmla="*/ 2147483646 h 265"/>
                <a:gd name="T22" fmla="*/ 2147483646 w 126"/>
                <a:gd name="T23" fmla="*/ 2147483646 h 265"/>
                <a:gd name="T24" fmla="*/ 2147483646 w 126"/>
                <a:gd name="T25" fmla="*/ 2147483646 h 265"/>
                <a:gd name="T26" fmla="*/ 2147483646 w 126"/>
                <a:gd name="T27" fmla="*/ 2147483646 h 265"/>
                <a:gd name="T28" fmla="*/ 2147483646 w 126"/>
                <a:gd name="T29" fmla="*/ 2147483646 h 265"/>
                <a:gd name="T30" fmla="*/ 2147483646 w 126"/>
                <a:gd name="T31" fmla="*/ 2147483646 h 265"/>
                <a:gd name="T32" fmla="*/ 2147483646 w 126"/>
                <a:gd name="T33" fmla="*/ 2147483646 h 2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6" h="265">
                  <a:moveTo>
                    <a:pt x="6" y="217"/>
                  </a:moveTo>
                  <a:lnTo>
                    <a:pt x="0" y="193"/>
                  </a:lnTo>
                  <a:lnTo>
                    <a:pt x="12" y="169"/>
                  </a:lnTo>
                  <a:lnTo>
                    <a:pt x="24" y="139"/>
                  </a:lnTo>
                  <a:lnTo>
                    <a:pt x="12" y="91"/>
                  </a:lnTo>
                  <a:lnTo>
                    <a:pt x="30" y="78"/>
                  </a:lnTo>
                  <a:lnTo>
                    <a:pt x="54" y="60"/>
                  </a:lnTo>
                  <a:lnTo>
                    <a:pt x="78" y="24"/>
                  </a:lnTo>
                  <a:lnTo>
                    <a:pt x="108" y="0"/>
                  </a:lnTo>
                  <a:lnTo>
                    <a:pt x="126" y="24"/>
                  </a:lnTo>
                  <a:lnTo>
                    <a:pt x="126" y="66"/>
                  </a:lnTo>
                  <a:lnTo>
                    <a:pt x="126" y="91"/>
                  </a:lnTo>
                  <a:lnTo>
                    <a:pt x="78" y="253"/>
                  </a:lnTo>
                  <a:lnTo>
                    <a:pt x="54" y="259"/>
                  </a:lnTo>
                  <a:lnTo>
                    <a:pt x="30" y="265"/>
                  </a:lnTo>
                  <a:lnTo>
                    <a:pt x="6" y="247"/>
                  </a:lnTo>
                  <a:lnTo>
                    <a:pt x="6" y="21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0" name="Freeform 266"/>
            <p:cNvSpPr>
              <a:spLocks/>
            </p:cNvSpPr>
            <p:nvPr/>
          </p:nvSpPr>
          <p:spPr bwMode="auto">
            <a:xfrm>
              <a:off x="8373120" y="5500251"/>
              <a:ext cx="165170" cy="194252"/>
            </a:xfrm>
            <a:custGeom>
              <a:avLst/>
              <a:gdLst>
                <a:gd name="T0" fmla="*/ 0 w 138"/>
                <a:gd name="T1" fmla="*/ 2147483646 h 157"/>
                <a:gd name="T2" fmla="*/ 2147483646 w 138"/>
                <a:gd name="T3" fmla="*/ 2147483646 h 157"/>
                <a:gd name="T4" fmla="*/ 2147483646 w 138"/>
                <a:gd name="T5" fmla="*/ 2147483646 h 157"/>
                <a:gd name="T6" fmla="*/ 2147483646 w 138"/>
                <a:gd name="T7" fmla="*/ 2147483646 h 157"/>
                <a:gd name="T8" fmla="*/ 2147483646 w 138"/>
                <a:gd name="T9" fmla="*/ 2147483646 h 157"/>
                <a:gd name="T10" fmla="*/ 2147483646 w 138"/>
                <a:gd name="T11" fmla="*/ 2147483646 h 157"/>
                <a:gd name="T12" fmla="*/ 2147483646 w 138"/>
                <a:gd name="T13" fmla="*/ 0 h 157"/>
                <a:gd name="T14" fmla="*/ 2147483646 w 138"/>
                <a:gd name="T15" fmla="*/ 2147483646 h 157"/>
                <a:gd name="T16" fmla="*/ 2147483646 w 138"/>
                <a:gd name="T17" fmla="*/ 2147483646 h 157"/>
                <a:gd name="T18" fmla="*/ 2147483646 w 138"/>
                <a:gd name="T19" fmla="*/ 2147483646 h 157"/>
                <a:gd name="T20" fmla="*/ 2147483646 w 138"/>
                <a:gd name="T21" fmla="*/ 2147483646 h 157"/>
                <a:gd name="T22" fmla="*/ 2147483646 w 138"/>
                <a:gd name="T23" fmla="*/ 2147483646 h 157"/>
                <a:gd name="T24" fmla="*/ 2147483646 w 138"/>
                <a:gd name="T25" fmla="*/ 2147483646 h 157"/>
                <a:gd name="T26" fmla="*/ 2147483646 w 138"/>
                <a:gd name="T27" fmla="*/ 2147483646 h 157"/>
                <a:gd name="T28" fmla="*/ 2147483646 w 138"/>
                <a:gd name="T29" fmla="*/ 2147483646 h 157"/>
                <a:gd name="T30" fmla="*/ 2147483646 w 138"/>
                <a:gd name="T31" fmla="*/ 2147483646 h 157"/>
                <a:gd name="T32" fmla="*/ 2147483646 w 138"/>
                <a:gd name="T33" fmla="*/ 2147483646 h 157"/>
                <a:gd name="T34" fmla="*/ 0 w 138"/>
                <a:gd name="T35" fmla="*/ 2147483646 h 15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8" h="157">
                  <a:moveTo>
                    <a:pt x="0" y="133"/>
                  </a:moveTo>
                  <a:lnTo>
                    <a:pt x="18" y="97"/>
                  </a:lnTo>
                  <a:lnTo>
                    <a:pt x="30" y="79"/>
                  </a:lnTo>
                  <a:lnTo>
                    <a:pt x="66" y="60"/>
                  </a:lnTo>
                  <a:lnTo>
                    <a:pt x="78" y="54"/>
                  </a:lnTo>
                  <a:lnTo>
                    <a:pt x="90" y="30"/>
                  </a:lnTo>
                  <a:lnTo>
                    <a:pt x="102" y="0"/>
                  </a:lnTo>
                  <a:lnTo>
                    <a:pt x="114" y="12"/>
                  </a:lnTo>
                  <a:lnTo>
                    <a:pt x="138" y="18"/>
                  </a:lnTo>
                  <a:lnTo>
                    <a:pt x="138" y="36"/>
                  </a:lnTo>
                  <a:lnTo>
                    <a:pt x="114" y="54"/>
                  </a:lnTo>
                  <a:lnTo>
                    <a:pt x="102" y="67"/>
                  </a:lnTo>
                  <a:lnTo>
                    <a:pt x="78" y="91"/>
                  </a:lnTo>
                  <a:lnTo>
                    <a:pt x="72" y="115"/>
                  </a:lnTo>
                  <a:lnTo>
                    <a:pt x="66" y="151"/>
                  </a:lnTo>
                  <a:lnTo>
                    <a:pt x="36" y="157"/>
                  </a:lnTo>
                  <a:lnTo>
                    <a:pt x="18" y="151"/>
                  </a:lnTo>
                  <a:lnTo>
                    <a:pt x="0" y="13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1" name="Freeform 267"/>
            <p:cNvSpPr>
              <a:spLocks/>
            </p:cNvSpPr>
            <p:nvPr/>
          </p:nvSpPr>
          <p:spPr bwMode="auto">
            <a:xfrm>
              <a:off x="8516366" y="5325576"/>
              <a:ext cx="115473" cy="191240"/>
            </a:xfrm>
            <a:custGeom>
              <a:avLst/>
              <a:gdLst>
                <a:gd name="T0" fmla="*/ 2147483646 w 96"/>
                <a:gd name="T1" fmla="*/ 2147483646 h 156"/>
                <a:gd name="T2" fmla="*/ 2147483646 w 96"/>
                <a:gd name="T3" fmla="*/ 2147483646 h 156"/>
                <a:gd name="T4" fmla="*/ 2147483646 w 96"/>
                <a:gd name="T5" fmla="*/ 2147483646 h 156"/>
                <a:gd name="T6" fmla="*/ 0 w 96"/>
                <a:gd name="T7" fmla="*/ 0 h 156"/>
                <a:gd name="T8" fmla="*/ 2147483646 w 96"/>
                <a:gd name="T9" fmla="*/ 2147483646 h 156"/>
                <a:gd name="T10" fmla="*/ 2147483646 w 96"/>
                <a:gd name="T11" fmla="*/ 2147483646 h 156"/>
                <a:gd name="T12" fmla="*/ 2147483646 w 96"/>
                <a:gd name="T13" fmla="*/ 2147483646 h 156"/>
                <a:gd name="T14" fmla="*/ 2147483646 w 96"/>
                <a:gd name="T15" fmla="*/ 2147483646 h 156"/>
                <a:gd name="T16" fmla="*/ 2147483646 w 96"/>
                <a:gd name="T17" fmla="*/ 2147483646 h 156"/>
                <a:gd name="T18" fmla="*/ 2147483646 w 96"/>
                <a:gd name="T19" fmla="*/ 2147483646 h 156"/>
                <a:gd name="T20" fmla="*/ 2147483646 w 96"/>
                <a:gd name="T21" fmla="*/ 2147483646 h 156"/>
                <a:gd name="T22" fmla="*/ 2147483646 w 96"/>
                <a:gd name="T23" fmla="*/ 2147483646 h 156"/>
                <a:gd name="T24" fmla="*/ 2147483646 w 96"/>
                <a:gd name="T25" fmla="*/ 2147483646 h 156"/>
                <a:gd name="T26" fmla="*/ 2147483646 w 96"/>
                <a:gd name="T27" fmla="*/ 2147483646 h 156"/>
                <a:gd name="T28" fmla="*/ 2147483646 w 96"/>
                <a:gd name="T29" fmla="*/ 2147483646 h 156"/>
                <a:gd name="T30" fmla="*/ 2147483646 w 96"/>
                <a:gd name="T31" fmla="*/ 2147483646 h 156"/>
                <a:gd name="T32" fmla="*/ 2147483646 w 96"/>
                <a:gd name="T33" fmla="*/ 2147483646 h 156"/>
                <a:gd name="T34" fmla="*/ 2147483646 w 96"/>
                <a:gd name="T35" fmla="*/ 2147483646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6" h="156">
                  <a:moveTo>
                    <a:pt x="6" y="108"/>
                  </a:moveTo>
                  <a:lnTo>
                    <a:pt x="24" y="78"/>
                  </a:lnTo>
                  <a:lnTo>
                    <a:pt x="24" y="54"/>
                  </a:lnTo>
                  <a:lnTo>
                    <a:pt x="0" y="0"/>
                  </a:lnTo>
                  <a:lnTo>
                    <a:pt x="30" y="12"/>
                  </a:lnTo>
                  <a:lnTo>
                    <a:pt x="30" y="42"/>
                  </a:lnTo>
                  <a:lnTo>
                    <a:pt x="42" y="60"/>
                  </a:lnTo>
                  <a:lnTo>
                    <a:pt x="60" y="78"/>
                  </a:lnTo>
                  <a:lnTo>
                    <a:pt x="84" y="66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78" y="102"/>
                  </a:lnTo>
                  <a:lnTo>
                    <a:pt x="66" y="114"/>
                  </a:lnTo>
                  <a:lnTo>
                    <a:pt x="60" y="132"/>
                  </a:lnTo>
                  <a:lnTo>
                    <a:pt x="42" y="156"/>
                  </a:lnTo>
                  <a:lnTo>
                    <a:pt x="24" y="144"/>
                  </a:lnTo>
                  <a:lnTo>
                    <a:pt x="30" y="126"/>
                  </a:lnTo>
                  <a:lnTo>
                    <a:pt x="6" y="10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2" name="Freeform 268"/>
            <p:cNvSpPr>
              <a:spLocks/>
            </p:cNvSpPr>
            <p:nvPr/>
          </p:nvSpPr>
          <p:spPr bwMode="auto">
            <a:xfrm>
              <a:off x="7151150" y="4730776"/>
              <a:ext cx="910631" cy="712254"/>
            </a:xfrm>
            <a:custGeom>
              <a:avLst/>
              <a:gdLst>
                <a:gd name="T0" fmla="*/ 2147483646 w 757"/>
                <a:gd name="T1" fmla="*/ 2147483646 h 577"/>
                <a:gd name="T2" fmla="*/ 2147483646 w 757"/>
                <a:gd name="T3" fmla="*/ 2147483646 h 577"/>
                <a:gd name="T4" fmla="*/ 0 w 757"/>
                <a:gd name="T5" fmla="*/ 2147483646 h 577"/>
                <a:gd name="T6" fmla="*/ 2147483646 w 757"/>
                <a:gd name="T7" fmla="*/ 2147483646 h 577"/>
                <a:gd name="T8" fmla="*/ 2147483646 w 757"/>
                <a:gd name="T9" fmla="*/ 2147483646 h 577"/>
                <a:gd name="T10" fmla="*/ 2147483646 w 757"/>
                <a:gd name="T11" fmla="*/ 2147483646 h 577"/>
                <a:gd name="T12" fmla="*/ 2147483646 w 757"/>
                <a:gd name="T13" fmla="*/ 2147483646 h 577"/>
                <a:gd name="T14" fmla="*/ 2147483646 w 757"/>
                <a:gd name="T15" fmla="*/ 2147483646 h 577"/>
                <a:gd name="T16" fmla="*/ 2147483646 w 757"/>
                <a:gd name="T17" fmla="*/ 2147483646 h 577"/>
                <a:gd name="T18" fmla="*/ 2147483646 w 757"/>
                <a:gd name="T19" fmla="*/ 2147483646 h 577"/>
                <a:gd name="T20" fmla="*/ 2147483646 w 757"/>
                <a:gd name="T21" fmla="*/ 0 h 577"/>
                <a:gd name="T22" fmla="*/ 2147483646 w 757"/>
                <a:gd name="T23" fmla="*/ 2147483646 h 577"/>
                <a:gd name="T24" fmla="*/ 2147483646 w 757"/>
                <a:gd name="T25" fmla="*/ 2147483646 h 577"/>
                <a:gd name="T26" fmla="*/ 2147483646 w 757"/>
                <a:gd name="T27" fmla="*/ 2147483646 h 577"/>
                <a:gd name="T28" fmla="*/ 2147483646 w 757"/>
                <a:gd name="T29" fmla="*/ 2147483646 h 577"/>
                <a:gd name="T30" fmla="*/ 2147483646 w 757"/>
                <a:gd name="T31" fmla="*/ 2147483646 h 577"/>
                <a:gd name="T32" fmla="*/ 2147483646 w 757"/>
                <a:gd name="T33" fmla="*/ 2147483646 h 577"/>
                <a:gd name="T34" fmla="*/ 2147483646 w 757"/>
                <a:gd name="T35" fmla="*/ 2147483646 h 577"/>
                <a:gd name="T36" fmla="*/ 2147483646 w 757"/>
                <a:gd name="T37" fmla="*/ 2147483646 h 577"/>
                <a:gd name="T38" fmla="*/ 2147483646 w 757"/>
                <a:gd name="T39" fmla="*/ 2147483646 h 577"/>
                <a:gd name="T40" fmla="*/ 2147483646 w 757"/>
                <a:gd name="T41" fmla="*/ 2147483646 h 577"/>
                <a:gd name="T42" fmla="*/ 2147483646 w 757"/>
                <a:gd name="T43" fmla="*/ 2147483646 h 577"/>
                <a:gd name="T44" fmla="*/ 2147483646 w 757"/>
                <a:gd name="T45" fmla="*/ 2147483646 h 577"/>
                <a:gd name="T46" fmla="*/ 2147483646 w 757"/>
                <a:gd name="T47" fmla="*/ 2147483646 h 577"/>
                <a:gd name="T48" fmla="*/ 2147483646 w 757"/>
                <a:gd name="T49" fmla="*/ 2147483646 h 577"/>
                <a:gd name="T50" fmla="*/ 2147483646 w 757"/>
                <a:gd name="T51" fmla="*/ 2147483646 h 577"/>
                <a:gd name="T52" fmla="*/ 2147483646 w 757"/>
                <a:gd name="T53" fmla="*/ 2147483646 h 577"/>
                <a:gd name="T54" fmla="*/ 2147483646 w 757"/>
                <a:gd name="T55" fmla="*/ 2147483646 h 577"/>
                <a:gd name="T56" fmla="*/ 2147483646 w 757"/>
                <a:gd name="T57" fmla="*/ 2147483646 h 577"/>
                <a:gd name="T58" fmla="*/ 2147483646 w 757"/>
                <a:gd name="T59" fmla="*/ 2147483646 h 577"/>
                <a:gd name="T60" fmla="*/ 2147483646 w 757"/>
                <a:gd name="T61" fmla="*/ 2147483646 h 577"/>
                <a:gd name="T62" fmla="*/ 2147483646 w 757"/>
                <a:gd name="T63" fmla="*/ 2147483646 h 577"/>
                <a:gd name="T64" fmla="*/ 2147483646 w 757"/>
                <a:gd name="T65" fmla="*/ 2147483646 h 577"/>
                <a:gd name="T66" fmla="*/ 2147483646 w 757"/>
                <a:gd name="T67" fmla="*/ 2147483646 h 577"/>
                <a:gd name="T68" fmla="*/ 2147483646 w 757"/>
                <a:gd name="T69" fmla="*/ 2147483646 h 577"/>
                <a:gd name="T70" fmla="*/ 2147483646 w 757"/>
                <a:gd name="T71" fmla="*/ 2147483646 h 5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57" h="577">
                  <a:moveTo>
                    <a:pt x="30" y="463"/>
                  </a:moveTo>
                  <a:lnTo>
                    <a:pt x="36" y="415"/>
                  </a:lnTo>
                  <a:lnTo>
                    <a:pt x="30" y="385"/>
                  </a:lnTo>
                  <a:lnTo>
                    <a:pt x="6" y="307"/>
                  </a:lnTo>
                  <a:lnTo>
                    <a:pt x="6" y="283"/>
                  </a:lnTo>
                  <a:lnTo>
                    <a:pt x="0" y="247"/>
                  </a:lnTo>
                  <a:lnTo>
                    <a:pt x="6" y="217"/>
                  </a:lnTo>
                  <a:lnTo>
                    <a:pt x="30" y="193"/>
                  </a:lnTo>
                  <a:lnTo>
                    <a:pt x="78" y="175"/>
                  </a:lnTo>
                  <a:lnTo>
                    <a:pt x="114" y="151"/>
                  </a:lnTo>
                  <a:lnTo>
                    <a:pt x="144" y="145"/>
                  </a:lnTo>
                  <a:lnTo>
                    <a:pt x="156" y="109"/>
                  </a:lnTo>
                  <a:lnTo>
                    <a:pt x="180" y="97"/>
                  </a:lnTo>
                  <a:lnTo>
                    <a:pt x="204" y="90"/>
                  </a:lnTo>
                  <a:lnTo>
                    <a:pt x="240" y="60"/>
                  </a:lnTo>
                  <a:lnTo>
                    <a:pt x="264" y="48"/>
                  </a:lnTo>
                  <a:lnTo>
                    <a:pt x="282" y="60"/>
                  </a:lnTo>
                  <a:lnTo>
                    <a:pt x="300" y="66"/>
                  </a:lnTo>
                  <a:lnTo>
                    <a:pt x="312" y="42"/>
                  </a:lnTo>
                  <a:lnTo>
                    <a:pt x="330" y="24"/>
                  </a:lnTo>
                  <a:lnTo>
                    <a:pt x="360" y="18"/>
                  </a:lnTo>
                  <a:lnTo>
                    <a:pt x="372" y="0"/>
                  </a:lnTo>
                  <a:lnTo>
                    <a:pt x="396" y="6"/>
                  </a:lnTo>
                  <a:lnTo>
                    <a:pt x="438" y="12"/>
                  </a:lnTo>
                  <a:lnTo>
                    <a:pt x="432" y="36"/>
                  </a:lnTo>
                  <a:lnTo>
                    <a:pt x="420" y="66"/>
                  </a:lnTo>
                  <a:lnTo>
                    <a:pt x="438" y="78"/>
                  </a:lnTo>
                  <a:lnTo>
                    <a:pt x="468" y="78"/>
                  </a:lnTo>
                  <a:lnTo>
                    <a:pt x="492" y="115"/>
                  </a:lnTo>
                  <a:lnTo>
                    <a:pt x="510" y="109"/>
                  </a:lnTo>
                  <a:lnTo>
                    <a:pt x="540" y="90"/>
                  </a:lnTo>
                  <a:lnTo>
                    <a:pt x="540" y="30"/>
                  </a:lnTo>
                  <a:lnTo>
                    <a:pt x="564" y="0"/>
                  </a:lnTo>
                  <a:lnTo>
                    <a:pt x="576" y="42"/>
                  </a:lnTo>
                  <a:lnTo>
                    <a:pt x="582" y="54"/>
                  </a:lnTo>
                  <a:lnTo>
                    <a:pt x="594" y="60"/>
                  </a:lnTo>
                  <a:lnTo>
                    <a:pt x="612" y="121"/>
                  </a:lnTo>
                  <a:lnTo>
                    <a:pt x="642" y="151"/>
                  </a:lnTo>
                  <a:lnTo>
                    <a:pt x="678" y="163"/>
                  </a:lnTo>
                  <a:lnTo>
                    <a:pt x="690" y="199"/>
                  </a:lnTo>
                  <a:lnTo>
                    <a:pt x="708" y="211"/>
                  </a:lnTo>
                  <a:lnTo>
                    <a:pt x="714" y="241"/>
                  </a:lnTo>
                  <a:lnTo>
                    <a:pt x="751" y="265"/>
                  </a:lnTo>
                  <a:lnTo>
                    <a:pt x="751" y="289"/>
                  </a:lnTo>
                  <a:lnTo>
                    <a:pt x="757" y="325"/>
                  </a:lnTo>
                  <a:lnTo>
                    <a:pt x="757" y="379"/>
                  </a:lnTo>
                  <a:lnTo>
                    <a:pt x="714" y="469"/>
                  </a:lnTo>
                  <a:lnTo>
                    <a:pt x="696" y="523"/>
                  </a:lnTo>
                  <a:lnTo>
                    <a:pt x="696" y="547"/>
                  </a:lnTo>
                  <a:lnTo>
                    <a:pt x="684" y="547"/>
                  </a:lnTo>
                  <a:lnTo>
                    <a:pt x="660" y="559"/>
                  </a:lnTo>
                  <a:lnTo>
                    <a:pt x="636" y="577"/>
                  </a:lnTo>
                  <a:lnTo>
                    <a:pt x="618" y="577"/>
                  </a:lnTo>
                  <a:lnTo>
                    <a:pt x="594" y="559"/>
                  </a:lnTo>
                  <a:lnTo>
                    <a:pt x="576" y="571"/>
                  </a:lnTo>
                  <a:lnTo>
                    <a:pt x="534" y="553"/>
                  </a:lnTo>
                  <a:lnTo>
                    <a:pt x="498" y="535"/>
                  </a:lnTo>
                  <a:lnTo>
                    <a:pt x="480" y="505"/>
                  </a:lnTo>
                  <a:lnTo>
                    <a:pt x="468" y="481"/>
                  </a:lnTo>
                  <a:lnTo>
                    <a:pt x="444" y="487"/>
                  </a:lnTo>
                  <a:lnTo>
                    <a:pt x="420" y="463"/>
                  </a:lnTo>
                  <a:lnTo>
                    <a:pt x="378" y="421"/>
                  </a:lnTo>
                  <a:lnTo>
                    <a:pt x="312" y="409"/>
                  </a:lnTo>
                  <a:lnTo>
                    <a:pt x="264" y="415"/>
                  </a:lnTo>
                  <a:lnTo>
                    <a:pt x="204" y="433"/>
                  </a:lnTo>
                  <a:lnTo>
                    <a:pt x="198" y="451"/>
                  </a:lnTo>
                  <a:lnTo>
                    <a:pt x="162" y="457"/>
                  </a:lnTo>
                  <a:lnTo>
                    <a:pt x="138" y="457"/>
                  </a:lnTo>
                  <a:lnTo>
                    <a:pt x="120" y="475"/>
                  </a:lnTo>
                  <a:lnTo>
                    <a:pt x="84" y="487"/>
                  </a:lnTo>
                  <a:lnTo>
                    <a:pt x="60" y="487"/>
                  </a:lnTo>
                  <a:lnTo>
                    <a:pt x="30" y="463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3" name="Freeform 269"/>
            <p:cNvSpPr>
              <a:spLocks/>
            </p:cNvSpPr>
            <p:nvPr/>
          </p:nvSpPr>
          <p:spPr bwMode="auto">
            <a:xfrm>
              <a:off x="7865914" y="5485193"/>
              <a:ext cx="80393" cy="112937"/>
            </a:xfrm>
            <a:custGeom>
              <a:avLst/>
              <a:gdLst>
                <a:gd name="T0" fmla="*/ 0 w 66"/>
                <a:gd name="T1" fmla="*/ 2147483646 h 91"/>
                <a:gd name="T2" fmla="*/ 2147483646 w 66"/>
                <a:gd name="T3" fmla="*/ 2147483646 h 91"/>
                <a:gd name="T4" fmla="*/ 2147483646 w 66"/>
                <a:gd name="T5" fmla="*/ 2147483646 h 91"/>
                <a:gd name="T6" fmla="*/ 2147483646 w 66"/>
                <a:gd name="T7" fmla="*/ 2147483646 h 91"/>
                <a:gd name="T8" fmla="*/ 2147483646 w 66"/>
                <a:gd name="T9" fmla="*/ 2147483646 h 91"/>
                <a:gd name="T10" fmla="*/ 2147483646 w 66"/>
                <a:gd name="T11" fmla="*/ 2147483646 h 91"/>
                <a:gd name="T12" fmla="*/ 2147483646 w 66"/>
                <a:gd name="T13" fmla="*/ 0 h 91"/>
                <a:gd name="T14" fmla="*/ 2147483646 w 66"/>
                <a:gd name="T15" fmla="*/ 2147483646 h 91"/>
                <a:gd name="T16" fmla="*/ 0 w 66"/>
                <a:gd name="T17" fmla="*/ 2147483646 h 9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91">
                  <a:moveTo>
                    <a:pt x="0" y="18"/>
                  </a:moveTo>
                  <a:lnTo>
                    <a:pt x="12" y="48"/>
                  </a:lnTo>
                  <a:lnTo>
                    <a:pt x="18" y="72"/>
                  </a:lnTo>
                  <a:lnTo>
                    <a:pt x="36" y="91"/>
                  </a:lnTo>
                  <a:lnTo>
                    <a:pt x="48" y="66"/>
                  </a:lnTo>
                  <a:lnTo>
                    <a:pt x="66" y="30"/>
                  </a:lnTo>
                  <a:lnTo>
                    <a:pt x="66" y="0"/>
                  </a:lnTo>
                  <a:lnTo>
                    <a:pt x="42" y="1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4" name="Freeform 270"/>
            <p:cNvSpPr>
              <a:spLocks/>
            </p:cNvSpPr>
            <p:nvPr/>
          </p:nvSpPr>
          <p:spPr bwMode="auto">
            <a:xfrm>
              <a:off x="6760879" y="4339262"/>
              <a:ext cx="222176" cy="251472"/>
            </a:xfrm>
            <a:custGeom>
              <a:avLst/>
              <a:gdLst>
                <a:gd name="T0" fmla="*/ 0 w 31"/>
                <a:gd name="T1" fmla="*/ 0 h 34"/>
                <a:gd name="T2" fmla="*/ 2147483646 w 31"/>
                <a:gd name="T3" fmla="*/ 0 h 34"/>
                <a:gd name="T4" fmla="*/ 2147483646 w 31"/>
                <a:gd name="T5" fmla="*/ 2147483646 h 34"/>
                <a:gd name="T6" fmla="*/ 2147483646 w 31"/>
                <a:gd name="T7" fmla="*/ 2147483646 h 34"/>
                <a:gd name="T8" fmla="*/ 2147483646 w 31"/>
                <a:gd name="T9" fmla="*/ 2147483646 h 34"/>
                <a:gd name="T10" fmla="*/ 2147483646 w 31"/>
                <a:gd name="T11" fmla="*/ 2147483646 h 34"/>
                <a:gd name="T12" fmla="*/ 2147483646 w 31"/>
                <a:gd name="T13" fmla="*/ 2147483646 h 34"/>
                <a:gd name="T14" fmla="*/ 2147483646 w 31"/>
                <a:gd name="T15" fmla="*/ 2147483646 h 34"/>
                <a:gd name="T16" fmla="*/ 2147483646 w 31"/>
                <a:gd name="T17" fmla="*/ 2147483646 h 34"/>
                <a:gd name="T18" fmla="*/ 2147483646 w 31"/>
                <a:gd name="T19" fmla="*/ 2147483646 h 34"/>
                <a:gd name="T20" fmla="*/ 2147483646 w 31"/>
                <a:gd name="T21" fmla="*/ 2147483646 h 34"/>
                <a:gd name="T22" fmla="*/ 2147483646 w 31"/>
                <a:gd name="T23" fmla="*/ 2147483646 h 34"/>
                <a:gd name="T24" fmla="*/ 2147483646 w 31"/>
                <a:gd name="T25" fmla="*/ 2147483646 h 34"/>
                <a:gd name="T26" fmla="*/ 2147483646 w 31"/>
                <a:gd name="T27" fmla="*/ 2147483646 h 34"/>
                <a:gd name="T28" fmla="*/ 2147483646 w 31"/>
                <a:gd name="T29" fmla="*/ 2147483646 h 34"/>
                <a:gd name="T30" fmla="*/ 2147483646 w 31"/>
                <a:gd name="T31" fmla="*/ 2147483646 h 34"/>
                <a:gd name="T32" fmla="*/ 0 w 31"/>
                <a:gd name="T33" fmla="*/ 0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1" h="34">
                  <a:moveTo>
                    <a:pt x="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7" y="13"/>
                    <a:pt x="6" y="12"/>
                  </a:cubicBezTo>
                  <a:cubicBezTo>
                    <a:pt x="4" y="11"/>
                    <a:pt x="1" y="8"/>
                    <a:pt x="1" y="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5" name="Freeform 271"/>
            <p:cNvSpPr>
              <a:spLocks/>
            </p:cNvSpPr>
            <p:nvPr/>
          </p:nvSpPr>
          <p:spPr bwMode="auto">
            <a:xfrm>
              <a:off x="7114607" y="4306134"/>
              <a:ext cx="209022" cy="251472"/>
            </a:xfrm>
            <a:custGeom>
              <a:avLst/>
              <a:gdLst>
                <a:gd name="T0" fmla="*/ 2147483646 w 174"/>
                <a:gd name="T1" fmla="*/ 2147483646 h 204"/>
                <a:gd name="T2" fmla="*/ 0 w 174"/>
                <a:gd name="T3" fmla="*/ 2147483646 h 204"/>
                <a:gd name="T4" fmla="*/ 0 w 174"/>
                <a:gd name="T5" fmla="*/ 2147483646 h 204"/>
                <a:gd name="T6" fmla="*/ 2147483646 w 174"/>
                <a:gd name="T7" fmla="*/ 2147483646 h 204"/>
                <a:gd name="T8" fmla="*/ 2147483646 w 174"/>
                <a:gd name="T9" fmla="*/ 2147483646 h 204"/>
                <a:gd name="T10" fmla="*/ 2147483646 w 174"/>
                <a:gd name="T11" fmla="*/ 2147483646 h 204"/>
                <a:gd name="T12" fmla="*/ 2147483646 w 174"/>
                <a:gd name="T13" fmla="*/ 2147483646 h 204"/>
                <a:gd name="T14" fmla="*/ 2147483646 w 174"/>
                <a:gd name="T15" fmla="*/ 0 h 204"/>
                <a:gd name="T16" fmla="*/ 2147483646 w 174"/>
                <a:gd name="T17" fmla="*/ 2147483646 h 204"/>
                <a:gd name="T18" fmla="*/ 2147483646 w 174"/>
                <a:gd name="T19" fmla="*/ 2147483646 h 204"/>
                <a:gd name="T20" fmla="*/ 2147483646 w 174"/>
                <a:gd name="T21" fmla="*/ 2147483646 h 204"/>
                <a:gd name="T22" fmla="*/ 2147483646 w 174"/>
                <a:gd name="T23" fmla="*/ 2147483646 h 204"/>
                <a:gd name="T24" fmla="*/ 2147483646 w 174"/>
                <a:gd name="T25" fmla="*/ 2147483646 h 204"/>
                <a:gd name="T26" fmla="*/ 2147483646 w 174"/>
                <a:gd name="T27" fmla="*/ 2147483646 h 204"/>
                <a:gd name="T28" fmla="*/ 2147483646 w 174"/>
                <a:gd name="T29" fmla="*/ 2147483646 h 204"/>
                <a:gd name="T30" fmla="*/ 2147483646 w 174"/>
                <a:gd name="T31" fmla="*/ 2147483646 h 204"/>
                <a:gd name="T32" fmla="*/ 2147483646 w 174"/>
                <a:gd name="T33" fmla="*/ 2147483646 h 204"/>
                <a:gd name="T34" fmla="*/ 2147483646 w 174"/>
                <a:gd name="T35" fmla="*/ 2147483646 h 204"/>
                <a:gd name="T36" fmla="*/ 2147483646 w 174"/>
                <a:gd name="T37" fmla="*/ 2147483646 h 204"/>
                <a:gd name="T38" fmla="*/ 2147483646 w 174"/>
                <a:gd name="T39" fmla="*/ 2147483646 h 204"/>
                <a:gd name="T40" fmla="*/ 2147483646 w 174"/>
                <a:gd name="T41" fmla="*/ 2147483646 h 204"/>
                <a:gd name="T42" fmla="*/ 2147483646 w 174"/>
                <a:gd name="T43" fmla="*/ 2147483646 h 204"/>
                <a:gd name="T44" fmla="*/ 2147483646 w 174"/>
                <a:gd name="T45" fmla="*/ 2147483646 h 204"/>
                <a:gd name="T46" fmla="*/ 2147483646 w 174"/>
                <a:gd name="T47" fmla="*/ 2147483646 h 2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204">
                  <a:moveTo>
                    <a:pt x="12" y="168"/>
                  </a:moveTo>
                  <a:lnTo>
                    <a:pt x="0" y="144"/>
                  </a:lnTo>
                  <a:lnTo>
                    <a:pt x="0" y="108"/>
                  </a:lnTo>
                  <a:lnTo>
                    <a:pt x="12" y="90"/>
                  </a:lnTo>
                  <a:lnTo>
                    <a:pt x="36" y="84"/>
                  </a:lnTo>
                  <a:lnTo>
                    <a:pt x="60" y="66"/>
                  </a:lnTo>
                  <a:lnTo>
                    <a:pt x="96" y="24"/>
                  </a:lnTo>
                  <a:lnTo>
                    <a:pt x="138" y="0"/>
                  </a:lnTo>
                  <a:lnTo>
                    <a:pt x="162" y="12"/>
                  </a:lnTo>
                  <a:lnTo>
                    <a:pt x="174" y="30"/>
                  </a:lnTo>
                  <a:lnTo>
                    <a:pt x="156" y="48"/>
                  </a:lnTo>
                  <a:lnTo>
                    <a:pt x="150" y="66"/>
                  </a:lnTo>
                  <a:lnTo>
                    <a:pt x="156" y="90"/>
                  </a:lnTo>
                  <a:lnTo>
                    <a:pt x="174" y="108"/>
                  </a:lnTo>
                  <a:lnTo>
                    <a:pt x="156" y="120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6" y="168"/>
                  </a:lnTo>
                  <a:lnTo>
                    <a:pt x="114" y="198"/>
                  </a:lnTo>
                  <a:lnTo>
                    <a:pt x="90" y="204"/>
                  </a:lnTo>
                  <a:lnTo>
                    <a:pt x="72" y="192"/>
                  </a:lnTo>
                  <a:lnTo>
                    <a:pt x="42" y="192"/>
                  </a:lnTo>
                  <a:lnTo>
                    <a:pt x="24" y="192"/>
                  </a:lnTo>
                  <a:lnTo>
                    <a:pt x="12" y="1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6" name="Freeform 274"/>
            <p:cNvSpPr>
              <a:spLocks/>
            </p:cNvSpPr>
            <p:nvPr/>
          </p:nvSpPr>
          <p:spPr bwMode="auto">
            <a:xfrm>
              <a:off x="7273931" y="4426600"/>
              <a:ext cx="130090" cy="164134"/>
            </a:xfrm>
            <a:custGeom>
              <a:avLst/>
              <a:gdLst>
                <a:gd name="T0" fmla="*/ 2147483646 w 108"/>
                <a:gd name="T1" fmla="*/ 2147483646 h 132"/>
                <a:gd name="T2" fmla="*/ 2147483646 w 108"/>
                <a:gd name="T3" fmla="*/ 2147483646 h 132"/>
                <a:gd name="T4" fmla="*/ 0 w 108"/>
                <a:gd name="T5" fmla="*/ 2147483646 h 132"/>
                <a:gd name="T6" fmla="*/ 2147483646 w 108"/>
                <a:gd name="T7" fmla="*/ 2147483646 h 132"/>
                <a:gd name="T8" fmla="*/ 2147483646 w 108"/>
                <a:gd name="T9" fmla="*/ 2147483646 h 132"/>
                <a:gd name="T10" fmla="*/ 2147483646 w 108"/>
                <a:gd name="T11" fmla="*/ 2147483646 h 132"/>
                <a:gd name="T12" fmla="*/ 2147483646 w 108"/>
                <a:gd name="T13" fmla="*/ 2147483646 h 132"/>
                <a:gd name="T14" fmla="*/ 2147483646 w 108"/>
                <a:gd name="T15" fmla="*/ 0 h 132"/>
                <a:gd name="T16" fmla="*/ 2147483646 w 108"/>
                <a:gd name="T17" fmla="*/ 2147483646 h 132"/>
                <a:gd name="T18" fmla="*/ 2147483646 w 108"/>
                <a:gd name="T19" fmla="*/ 2147483646 h 132"/>
                <a:gd name="T20" fmla="*/ 2147483646 w 108"/>
                <a:gd name="T21" fmla="*/ 2147483646 h 132"/>
                <a:gd name="T22" fmla="*/ 2147483646 w 108"/>
                <a:gd name="T23" fmla="*/ 2147483646 h 132"/>
                <a:gd name="T24" fmla="*/ 2147483646 w 108"/>
                <a:gd name="T25" fmla="*/ 2147483646 h 132"/>
                <a:gd name="T26" fmla="*/ 2147483646 w 108"/>
                <a:gd name="T27" fmla="*/ 2147483646 h 132"/>
                <a:gd name="T28" fmla="*/ 2147483646 w 108"/>
                <a:gd name="T29" fmla="*/ 2147483646 h 132"/>
                <a:gd name="T30" fmla="*/ 2147483646 w 108"/>
                <a:gd name="T31" fmla="*/ 2147483646 h 132"/>
                <a:gd name="T32" fmla="*/ 2147483646 w 108"/>
                <a:gd name="T33" fmla="*/ 2147483646 h 132"/>
                <a:gd name="T34" fmla="*/ 2147483646 w 108"/>
                <a:gd name="T35" fmla="*/ 2147483646 h 132"/>
                <a:gd name="T36" fmla="*/ 2147483646 w 108"/>
                <a:gd name="T37" fmla="*/ 2147483646 h 132"/>
                <a:gd name="T38" fmla="*/ 2147483646 w 108"/>
                <a:gd name="T39" fmla="*/ 2147483646 h 132"/>
                <a:gd name="T40" fmla="*/ 2147483646 w 108"/>
                <a:gd name="T41" fmla="*/ 2147483646 h 132"/>
                <a:gd name="T42" fmla="*/ 2147483646 w 108"/>
                <a:gd name="T43" fmla="*/ 2147483646 h 132"/>
                <a:gd name="T44" fmla="*/ 2147483646 w 108"/>
                <a:gd name="T45" fmla="*/ 2147483646 h 132"/>
                <a:gd name="T46" fmla="*/ 2147483646 w 108"/>
                <a:gd name="T47" fmla="*/ 2147483646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8" h="132">
                  <a:moveTo>
                    <a:pt x="12" y="126"/>
                  </a:moveTo>
                  <a:lnTo>
                    <a:pt x="12" y="108"/>
                  </a:lnTo>
                  <a:lnTo>
                    <a:pt x="0" y="84"/>
                  </a:lnTo>
                  <a:lnTo>
                    <a:pt x="6" y="66"/>
                  </a:lnTo>
                  <a:lnTo>
                    <a:pt x="24" y="24"/>
                  </a:lnTo>
                  <a:lnTo>
                    <a:pt x="36" y="12"/>
                  </a:lnTo>
                  <a:lnTo>
                    <a:pt x="66" y="6"/>
                  </a:lnTo>
                  <a:lnTo>
                    <a:pt x="108" y="0"/>
                  </a:lnTo>
                  <a:lnTo>
                    <a:pt x="108" y="12"/>
                  </a:lnTo>
                  <a:lnTo>
                    <a:pt x="90" y="12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84" y="42"/>
                  </a:lnTo>
                  <a:lnTo>
                    <a:pt x="90" y="60"/>
                  </a:lnTo>
                  <a:lnTo>
                    <a:pt x="78" y="66"/>
                  </a:lnTo>
                  <a:lnTo>
                    <a:pt x="66" y="78"/>
                  </a:lnTo>
                  <a:lnTo>
                    <a:pt x="90" y="102"/>
                  </a:lnTo>
                  <a:lnTo>
                    <a:pt x="96" y="126"/>
                  </a:lnTo>
                  <a:lnTo>
                    <a:pt x="72" y="126"/>
                  </a:lnTo>
                  <a:lnTo>
                    <a:pt x="54" y="108"/>
                  </a:lnTo>
                  <a:lnTo>
                    <a:pt x="36" y="84"/>
                  </a:lnTo>
                  <a:lnTo>
                    <a:pt x="36" y="114"/>
                  </a:lnTo>
                  <a:lnTo>
                    <a:pt x="36" y="132"/>
                  </a:lnTo>
                  <a:lnTo>
                    <a:pt x="12" y="126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7" name="Freeform 275"/>
            <p:cNvSpPr>
              <a:spLocks/>
            </p:cNvSpPr>
            <p:nvPr/>
          </p:nvSpPr>
          <p:spPr bwMode="auto">
            <a:xfrm>
              <a:off x="6978671" y="4613322"/>
              <a:ext cx="244101" cy="57221"/>
            </a:xfrm>
            <a:custGeom>
              <a:avLst/>
              <a:gdLst>
                <a:gd name="T0" fmla="*/ 0 w 34"/>
                <a:gd name="T1" fmla="*/ 2147483646 h 8"/>
                <a:gd name="T2" fmla="*/ 2147483646 w 34"/>
                <a:gd name="T3" fmla="*/ 0 h 8"/>
                <a:gd name="T4" fmla="*/ 2147483646 w 34"/>
                <a:gd name="T5" fmla="*/ 0 h 8"/>
                <a:gd name="T6" fmla="*/ 2147483646 w 34"/>
                <a:gd name="T7" fmla="*/ 2147483646 h 8"/>
                <a:gd name="T8" fmla="*/ 2147483646 w 34"/>
                <a:gd name="T9" fmla="*/ 2147483646 h 8"/>
                <a:gd name="T10" fmla="*/ 2147483646 w 34"/>
                <a:gd name="T11" fmla="*/ 2147483646 h 8"/>
                <a:gd name="T12" fmla="*/ 2147483646 w 34"/>
                <a:gd name="T13" fmla="*/ 2147483646 h 8"/>
                <a:gd name="T14" fmla="*/ 2147483646 w 34"/>
                <a:gd name="T15" fmla="*/ 2147483646 h 8"/>
                <a:gd name="T16" fmla="*/ 2147483646 w 34"/>
                <a:gd name="T17" fmla="*/ 2147483646 h 8"/>
                <a:gd name="T18" fmla="*/ 2147483646 w 34"/>
                <a:gd name="T19" fmla="*/ 2147483646 h 8"/>
                <a:gd name="T20" fmla="*/ 0 w 34"/>
                <a:gd name="T21" fmla="*/ 2147483646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" h="8">
                  <a:moveTo>
                    <a:pt x="0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0" y="4"/>
                    <a:pt x="8" y="4"/>
                  </a:cubicBezTo>
                  <a:cubicBezTo>
                    <a:pt x="7" y="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8" name="Freeform 276"/>
            <p:cNvSpPr>
              <a:spLocks/>
            </p:cNvSpPr>
            <p:nvPr/>
          </p:nvSpPr>
          <p:spPr bwMode="auto">
            <a:xfrm>
              <a:off x="3105199" y="3060819"/>
              <a:ext cx="146169" cy="170158"/>
            </a:xfrm>
            <a:custGeom>
              <a:avLst/>
              <a:gdLst>
                <a:gd name="T0" fmla="*/ 0 w 120"/>
                <a:gd name="T1" fmla="*/ 2147483646 h 138"/>
                <a:gd name="T2" fmla="*/ 0 w 120"/>
                <a:gd name="T3" fmla="*/ 2147483646 h 138"/>
                <a:gd name="T4" fmla="*/ 2147483646 w 120"/>
                <a:gd name="T5" fmla="*/ 2147483646 h 138"/>
                <a:gd name="T6" fmla="*/ 2147483646 w 120"/>
                <a:gd name="T7" fmla="*/ 2147483646 h 138"/>
                <a:gd name="T8" fmla="*/ 2147483646 w 120"/>
                <a:gd name="T9" fmla="*/ 0 h 138"/>
                <a:gd name="T10" fmla="*/ 2147483646 w 120"/>
                <a:gd name="T11" fmla="*/ 2147483646 h 138"/>
                <a:gd name="T12" fmla="*/ 2147483646 w 120"/>
                <a:gd name="T13" fmla="*/ 2147483646 h 138"/>
                <a:gd name="T14" fmla="*/ 2147483646 w 120"/>
                <a:gd name="T15" fmla="*/ 2147483646 h 138"/>
                <a:gd name="T16" fmla="*/ 2147483646 w 120"/>
                <a:gd name="T17" fmla="*/ 2147483646 h 138"/>
                <a:gd name="T18" fmla="*/ 2147483646 w 120"/>
                <a:gd name="T19" fmla="*/ 2147483646 h 138"/>
                <a:gd name="T20" fmla="*/ 2147483646 w 120"/>
                <a:gd name="T21" fmla="*/ 2147483646 h 138"/>
                <a:gd name="T22" fmla="*/ 2147483646 w 120"/>
                <a:gd name="T23" fmla="*/ 2147483646 h 138"/>
                <a:gd name="T24" fmla="*/ 2147483646 w 120"/>
                <a:gd name="T25" fmla="*/ 2147483646 h 138"/>
                <a:gd name="T26" fmla="*/ 2147483646 w 120"/>
                <a:gd name="T27" fmla="*/ 2147483646 h 138"/>
                <a:gd name="T28" fmla="*/ 2147483646 w 120"/>
                <a:gd name="T29" fmla="*/ 2147483646 h 138"/>
                <a:gd name="T30" fmla="*/ 2147483646 w 120"/>
                <a:gd name="T31" fmla="*/ 2147483646 h 138"/>
                <a:gd name="T32" fmla="*/ 0 w 120"/>
                <a:gd name="T33" fmla="*/ 2147483646 h 1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0" h="138">
                  <a:moveTo>
                    <a:pt x="0" y="114"/>
                  </a:moveTo>
                  <a:lnTo>
                    <a:pt x="0" y="90"/>
                  </a:lnTo>
                  <a:lnTo>
                    <a:pt x="6" y="72"/>
                  </a:lnTo>
                  <a:lnTo>
                    <a:pt x="36" y="24"/>
                  </a:lnTo>
                  <a:lnTo>
                    <a:pt x="66" y="0"/>
                  </a:lnTo>
                  <a:lnTo>
                    <a:pt x="66" y="18"/>
                  </a:lnTo>
                  <a:lnTo>
                    <a:pt x="54" y="42"/>
                  </a:lnTo>
                  <a:lnTo>
                    <a:pt x="60" y="54"/>
                  </a:lnTo>
                  <a:lnTo>
                    <a:pt x="108" y="78"/>
                  </a:lnTo>
                  <a:lnTo>
                    <a:pt x="120" y="108"/>
                  </a:lnTo>
                  <a:lnTo>
                    <a:pt x="120" y="132"/>
                  </a:lnTo>
                  <a:lnTo>
                    <a:pt x="96" y="138"/>
                  </a:lnTo>
                  <a:lnTo>
                    <a:pt x="84" y="120"/>
                  </a:lnTo>
                  <a:lnTo>
                    <a:pt x="66" y="126"/>
                  </a:lnTo>
                  <a:lnTo>
                    <a:pt x="48" y="114"/>
                  </a:lnTo>
                  <a:lnTo>
                    <a:pt x="18" y="108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9" name="Freeform 277"/>
            <p:cNvSpPr>
              <a:spLocks/>
            </p:cNvSpPr>
            <p:nvPr/>
          </p:nvSpPr>
          <p:spPr bwMode="auto">
            <a:xfrm>
              <a:off x="2504446" y="3920644"/>
              <a:ext cx="254334" cy="73785"/>
            </a:xfrm>
            <a:custGeom>
              <a:avLst/>
              <a:gdLst>
                <a:gd name="T0" fmla="*/ 2147483646 w 35"/>
                <a:gd name="T1" fmla="*/ 2147483646 h 10"/>
                <a:gd name="T2" fmla="*/ 2147483646 w 35"/>
                <a:gd name="T3" fmla="*/ 0 h 10"/>
                <a:gd name="T4" fmla="*/ 2147483646 w 35"/>
                <a:gd name="T5" fmla="*/ 0 h 10"/>
                <a:gd name="T6" fmla="*/ 2147483646 w 35"/>
                <a:gd name="T7" fmla="*/ 2147483646 h 10"/>
                <a:gd name="T8" fmla="*/ 2147483646 w 35"/>
                <a:gd name="T9" fmla="*/ 2147483646 h 10"/>
                <a:gd name="T10" fmla="*/ 2147483646 w 35"/>
                <a:gd name="T11" fmla="*/ 2147483646 h 10"/>
                <a:gd name="T12" fmla="*/ 2147483646 w 35"/>
                <a:gd name="T13" fmla="*/ 2147483646 h 10"/>
                <a:gd name="T14" fmla="*/ 2147483646 w 35"/>
                <a:gd name="T15" fmla="*/ 2147483646 h 10"/>
                <a:gd name="T16" fmla="*/ 2147483646 w 35"/>
                <a:gd name="T17" fmla="*/ 2147483646 h 10"/>
                <a:gd name="T18" fmla="*/ 2147483646 w 35"/>
                <a:gd name="T19" fmla="*/ 2147483646 h 10"/>
                <a:gd name="T20" fmla="*/ 2147483646 w 35"/>
                <a:gd name="T21" fmla="*/ 2147483646 h 10"/>
                <a:gd name="T22" fmla="*/ 2147483646 w 35"/>
                <a:gd name="T23" fmla="*/ 2147483646 h 10"/>
                <a:gd name="T24" fmla="*/ 2147483646 w 35"/>
                <a:gd name="T25" fmla="*/ 2147483646 h 10"/>
                <a:gd name="T26" fmla="*/ 2147483646 w 35"/>
                <a:gd name="T27" fmla="*/ 2147483646 h 10"/>
                <a:gd name="T28" fmla="*/ 0 w 35"/>
                <a:gd name="T29" fmla="*/ 2147483646 h 10"/>
                <a:gd name="T30" fmla="*/ 2147483646 w 35"/>
                <a:gd name="T31" fmla="*/ 2147483646 h 1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5" h="10">
                  <a:moveTo>
                    <a:pt x="2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7" y="5"/>
                    <a:pt x="28" y="6"/>
                  </a:cubicBezTo>
                  <a:cubicBezTo>
                    <a:pt x="30" y="7"/>
                    <a:pt x="33" y="7"/>
                    <a:pt x="33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10"/>
                    <a:pt x="33" y="10"/>
                  </a:cubicBezTo>
                  <a:cubicBezTo>
                    <a:pt x="31" y="10"/>
                    <a:pt x="25" y="10"/>
                    <a:pt x="25" y="10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0" name="Freeform 278"/>
            <p:cNvSpPr>
              <a:spLocks/>
            </p:cNvSpPr>
            <p:nvPr/>
          </p:nvSpPr>
          <p:spPr bwMode="auto">
            <a:xfrm>
              <a:off x="2758779" y="4001958"/>
              <a:ext cx="157862" cy="45175"/>
            </a:xfrm>
            <a:custGeom>
              <a:avLst/>
              <a:gdLst>
                <a:gd name="T0" fmla="*/ 2147483646 w 132"/>
                <a:gd name="T1" fmla="*/ 0 h 36"/>
                <a:gd name="T2" fmla="*/ 2147483646 w 132"/>
                <a:gd name="T3" fmla="*/ 2147483646 h 36"/>
                <a:gd name="T4" fmla="*/ 0 w 132"/>
                <a:gd name="T5" fmla="*/ 2147483646 h 36"/>
                <a:gd name="T6" fmla="*/ 2147483646 w 132"/>
                <a:gd name="T7" fmla="*/ 2147483646 h 36"/>
                <a:gd name="T8" fmla="*/ 2147483646 w 132"/>
                <a:gd name="T9" fmla="*/ 2147483646 h 36"/>
                <a:gd name="T10" fmla="*/ 2147483646 w 132"/>
                <a:gd name="T11" fmla="*/ 2147483646 h 36"/>
                <a:gd name="T12" fmla="*/ 2147483646 w 132"/>
                <a:gd name="T13" fmla="*/ 2147483646 h 36"/>
                <a:gd name="T14" fmla="*/ 2147483646 w 132"/>
                <a:gd name="T15" fmla="*/ 2147483646 h 36"/>
                <a:gd name="T16" fmla="*/ 2147483646 w 132"/>
                <a:gd name="T17" fmla="*/ 2147483646 h 36"/>
                <a:gd name="T18" fmla="*/ 2147483646 w 132"/>
                <a:gd name="T19" fmla="*/ 0 h 36"/>
                <a:gd name="T20" fmla="*/ 2147483646 w 132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32" h="36">
                  <a:moveTo>
                    <a:pt x="24" y="0"/>
                  </a:moveTo>
                  <a:lnTo>
                    <a:pt x="24" y="12"/>
                  </a:lnTo>
                  <a:lnTo>
                    <a:pt x="0" y="18"/>
                  </a:lnTo>
                  <a:lnTo>
                    <a:pt x="30" y="30"/>
                  </a:lnTo>
                  <a:lnTo>
                    <a:pt x="42" y="36"/>
                  </a:lnTo>
                  <a:lnTo>
                    <a:pt x="66" y="36"/>
                  </a:lnTo>
                  <a:lnTo>
                    <a:pt x="84" y="24"/>
                  </a:lnTo>
                  <a:lnTo>
                    <a:pt x="132" y="30"/>
                  </a:lnTo>
                  <a:lnTo>
                    <a:pt x="108" y="18"/>
                  </a:lnTo>
                  <a:lnTo>
                    <a:pt x="72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1" name="Freeform 279"/>
            <p:cNvSpPr>
              <a:spLocks/>
            </p:cNvSpPr>
            <p:nvPr/>
          </p:nvSpPr>
          <p:spPr bwMode="auto">
            <a:xfrm>
              <a:off x="4841684" y="3502025"/>
              <a:ext cx="71622" cy="43668"/>
            </a:xfrm>
            <a:custGeom>
              <a:avLst/>
              <a:gdLst>
                <a:gd name="T0" fmla="*/ 0 w 60"/>
                <a:gd name="T1" fmla="*/ 2147483646 h 36"/>
                <a:gd name="T2" fmla="*/ 2147483646 w 60"/>
                <a:gd name="T3" fmla="*/ 0 h 36"/>
                <a:gd name="T4" fmla="*/ 2147483646 w 60"/>
                <a:gd name="T5" fmla="*/ 2147483646 h 36"/>
                <a:gd name="T6" fmla="*/ 2147483646 w 60"/>
                <a:gd name="T7" fmla="*/ 2147483646 h 36"/>
                <a:gd name="T8" fmla="*/ 2147483646 w 60"/>
                <a:gd name="T9" fmla="*/ 2147483646 h 36"/>
                <a:gd name="T10" fmla="*/ 2147483646 w 60"/>
                <a:gd name="T11" fmla="*/ 2147483646 h 36"/>
                <a:gd name="T12" fmla="*/ 0 w 60"/>
                <a:gd name="T13" fmla="*/ 2147483646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0" h="36">
                  <a:moveTo>
                    <a:pt x="0" y="12"/>
                  </a:moveTo>
                  <a:lnTo>
                    <a:pt x="3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36"/>
                  </a:lnTo>
                  <a:lnTo>
                    <a:pt x="30" y="24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2" name="Freeform 280"/>
            <p:cNvSpPr>
              <a:spLocks/>
            </p:cNvSpPr>
            <p:nvPr/>
          </p:nvSpPr>
          <p:spPr bwMode="auto">
            <a:xfrm>
              <a:off x="4761291" y="3417699"/>
              <a:ext cx="29234" cy="58727"/>
            </a:xfrm>
            <a:custGeom>
              <a:avLst/>
              <a:gdLst>
                <a:gd name="T0" fmla="*/ 0 w 24"/>
                <a:gd name="T1" fmla="*/ 2147483646 h 48"/>
                <a:gd name="T2" fmla="*/ 2147483646 w 24"/>
                <a:gd name="T3" fmla="*/ 2147483646 h 48"/>
                <a:gd name="T4" fmla="*/ 2147483646 w 24"/>
                <a:gd name="T5" fmla="*/ 0 h 48"/>
                <a:gd name="T6" fmla="*/ 2147483646 w 24"/>
                <a:gd name="T7" fmla="*/ 2147483646 h 48"/>
                <a:gd name="T8" fmla="*/ 2147483646 w 24"/>
                <a:gd name="T9" fmla="*/ 2147483646 h 48"/>
                <a:gd name="T10" fmla="*/ 0 w 24"/>
                <a:gd name="T11" fmla="*/ 214748364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48">
                  <a:moveTo>
                    <a:pt x="0" y="48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24" y="24"/>
                  </a:lnTo>
                  <a:lnTo>
                    <a:pt x="24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3" name="Freeform 281"/>
            <p:cNvSpPr>
              <a:spLocks/>
            </p:cNvSpPr>
            <p:nvPr/>
          </p:nvSpPr>
          <p:spPr bwMode="auto">
            <a:xfrm>
              <a:off x="4753983" y="3357466"/>
              <a:ext cx="36542" cy="45175"/>
            </a:xfrm>
            <a:custGeom>
              <a:avLst/>
              <a:gdLst>
                <a:gd name="T0" fmla="*/ 0 w 30"/>
                <a:gd name="T1" fmla="*/ 2147483646 h 37"/>
                <a:gd name="T2" fmla="*/ 2147483646 w 30"/>
                <a:gd name="T3" fmla="*/ 0 h 37"/>
                <a:gd name="T4" fmla="*/ 2147483646 w 30"/>
                <a:gd name="T5" fmla="*/ 2147483646 h 37"/>
                <a:gd name="T6" fmla="*/ 2147483646 w 30"/>
                <a:gd name="T7" fmla="*/ 2147483646 h 37"/>
                <a:gd name="T8" fmla="*/ 0 w 30"/>
                <a:gd name="T9" fmla="*/ 2147483646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4" name="Freeform 282"/>
            <p:cNvSpPr>
              <a:spLocks/>
            </p:cNvSpPr>
            <p:nvPr/>
          </p:nvSpPr>
          <p:spPr bwMode="auto">
            <a:xfrm>
              <a:off x="5489211" y="3524612"/>
              <a:ext cx="36543" cy="7530"/>
            </a:xfrm>
            <a:custGeom>
              <a:avLst/>
              <a:gdLst>
                <a:gd name="T0" fmla="*/ 2147483646 w 30"/>
                <a:gd name="T1" fmla="*/ 0 h 6"/>
                <a:gd name="T2" fmla="*/ 2147483646 w 30"/>
                <a:gd name="T3" fmla="*/ 0 h 6"/>
                <a:gd name="T4" fmla="*/ 0 w 30"/>
                <a:gd name="T5" fmla="*/ 2147483646 h 6"/>
                <a:gd name="T6" fmla="*/ 2147483646 w 3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" h="6">
                  <a:moveTo>
                    <a:pt x="24" y="0"/>
                  </a:moveTo>
                  <a:lnTo>
                    <a:pt x="30" y="0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5" name="Rectangle 283"/>
            <p:cNvSpPr>
              <a:spLocks noChangeArrowheads="1"/>
            </p:cNvSpPr>
            <p:nvPr/>
          </p:nvSpPr>
          <p:spPr bwMode="auto">
            <a:xfrm>
              <a:off x="5360582" y="3744462"/>
              <a:ext cx="0" cy="301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15000"/>
                </a:spcBef>
                <a:buClr>
                  <a:srgbClr val="17588A"/>
                </a:buClr>
                <a:buFont typeface="Arial" panose="020B0604020202020204" pitchFamily="34" charset="0"/>
                <a:buChar char=" 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15000"/>
                </a:spcBef>
                <a:buClr>
                  <a:schemeClr val="tx1"/>
                </a:buClr>
                <a:buFont typeface="Wingdings" panose="05000000000000000000" pitchFamily="2" charset="2"/>
                <a:buChar char="ª"/>
                <a:defRPr sz="16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15000"/>
                </a:spcBef>
                <a:buClr>
                  <a:schemeClr val="tx1"/>
                </a:buClr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15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15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fontAlgn="base">
                <a:spcAft>
                  <a:spcPct val="0"/>
                </a:spcAft>
                <a:buClrTx/>
                <a:buFontTx/>
                <a:buNone/>
              </a:pPr>
              <a:endParaRPr lang="en-US" altLang="en-US" sz="1400" b="1">
                <a:solidFill>
                  <a:srgbClr val="FFFFFF"/>
                </a:solidFill>
              </a:endParaRPr>
            </a:p>
          </p:txBody>
        </p:sp>
        <p:sp>
          <p:nvSpPr>
            <p:cNvPr id="556" name="Freeform 284"/>
            <p:cNvSpPr>
              <a:spLocks/>
            </p:cNvSpPr>
            <p:nvPr/>
          </p:nvSpPr>
          <p:spPr bwMode="auto">
            <a:xfrm>
              <a:off x="5122328" y="3383065"/>
              <a:ext cx="453123" cy="170158"/>
            </a:xfrm>
            <a:custGeom>
              <a:avLst/>
              <a:gdLst>
                <a:gd name="T0" fmla="*/ 2147483646 w 10616"/>
                <a:gd name="T1" fmla="*/ 2147483646 h 10000"/>
                <a:gd name="T2" fmla="*/ 2147483646 w 10616"/>
                <a:gd name="T3" fmla="*/ 2147483646 h 10000"/>
                <a:gd name="T4" fmla="*/ 2147483646 w 10616"/>
                <a:gd name="T5" fmla="*/ 2147483646 h 10000"/>
                <a:gd name="T6" fmla="*/ 2147483646 w 10616"/>
                <a:gd name="T7" fmla="*/ 2147483646 h 10000"/>
                <a:gd name="T8" fmla="*/ 2147483646 w 10616"/>
                <a:gd name="T9" fmla="*/ 2147483646 h 10000"/>
                <a:gd name="T10" fmla="*/ 2147483646 w 10616"/>
                <a:gd name="T11" fmla="*/ 2147483646 h 10000"/>
                <a:gd name="T12" fmla="*/ 2147483646 w 10616"/>
                <a:gd name="T13" fmla="*/ 2147483646 h 10000"/>
                <a:gd name="T14" fmla="*/ 2147483646 w 10616"/>
                <a:gd name="T15" fmla="*/ 2147483646 h 10000"/>
                <a:gd name="T16" fmla="*/ 2147483646 w 10616"/>
                <a:gd name="T17" fmla="*/ 2147483646 h 10000"/>
                <a:gd name="T18" fmla="*/ 2147483646 w 10616"/>
                <a:gd name="T19" fmla="*/ 2147483646 h 10000"/>
                <a:gd name="T20" fmla="*/ 2147483646 w 10616"/>
                <a:gd name="T21" fmla="*/ 2147483646 h 10000"/>
                <a:gd name="T22" fmla="*/ 2147483646 w 10616"/>
                <a:gd name="T23" fmla="*/ 2147483646 h 10000"/>
                <a:gd name="T24" fmla="*/ 2147483646 w 10616"/>
                <a:gd name="T25" fmla="*/ 0 h 10000"/>
                <a:gd name="T26" fmla="*/ 2147483646 w 10616"/>
                <a:gd name="T27" fmla="*/ 0 h 10000"/>
                <a:gd name="T28" fmla="*/ 2147483646 w 10616"/>
                <a:gd name="T29" fmla="*/ 2147483646 h 10000"/>
                <a:gd name="T30" fmla="*/ 2147483646 w 10616"/>
                <a:gd name="T31" fmla="*/ 2147483646 h 10000"/>
                <a:gd name="T32" fmla="*/ 2147483646 w 10616"/>
                <a:gd name="T33" fmla="*/ 2147483646 h 10000"/>
                <a:gd name="T34" fmla="*/ 2147483646 w 10616"/>
                <a:gd name="T35" fmla="*/ 2147483646 h 10000"/>
                <a:gd name="T36" fmla="*/ 2147483646 w 10616"/>
                <a:gd name="T37" fmla="*/ 2147483646 h 10000"/>
                <a:gd name="T38" fmla="*/ 2147483646 w 10616"/>
                <a:gd name="T39" fmla="*/ 0 h 10000"/>
                <a:gd name="T40" fmla="*/ 2147483646 w 10616"/>
                <a:gd name="T41" fmla="*/ 0 h 10000"/>
                <a:gd name="T42" fmla="*/ 2147483646 w 10616"/>
                <a:gd name="T43" fmla="*/ 0 h 10000"/>
                <a:gd name="T44" fmla="*/ 2147483646 w 10616"/>
                <a:gd name="T45" fmla="*/ 2147483646 h 10000"/>
                <a:gd name="T46" fmla="*/ 2147483646 w 10616"/>
                <a:gd name="T47" fmla="*/ 2147483646 h 10000"/>
                <a:gd name="T48" fmla="*/ 2147483646 w 10616"/>
                <a:gd name="T49" fmla="*/ 2147483646 h 10000"/>
                <a:gd name="T50" fmla="*/ 2147483646 w 10616"/>
                <a:gd name="T51" fmla="*/ 2147483646 h 10000"/>
                <a:gd name="T52" fmla="*/ 2147483646 w 10616"/>
                <a:gd name="T53" fmla="*/ 2147483646 h 10000"/>
                <a:gd name="T54" fmla="*/ 2147483646 w 10616"/>
                <a:gd name="T55" fmla="*/ 2147483646 h 10000"/>
                <a:gd name="T56" fmla="*/ 2147483646 w 10616"/>
                <a:gd name="T57" fmla="*/ 2147483646 h 10000"/>
                <a:gd name="T58" fmla="*/ 2147483646 w 10616"/>
                <a:gd name="T59" fmla="*/ 2147483646 h 10000"/>
                <a:gd name="T60" fmla="*/ 2147483646 w 10616"/>
                <a:gd name="T61" fmla="*/ 2147483646 h 10000"/>
                <a:gd name="T62" fmla="*/ 0 w 10616"/>
                <a:gd name="T63" fmla="*/ 2147483646 h 10000"/>
                <a:gd name="T64" fmla="*/ 2147483646 w 10616"/>
                <a:gd name="T65" fmla="*/ 2147483646 h 10000"/>
                <a:gd name="T66" fmla="*/ 2147483646 w 10616"/>
                <a:gd name="T67" fmla="*/ 2147483646 h 10000"/>
                <a:gd name="T68" fmla="*/ 2147483646 w 10616"/>
                <a:gd name="T69" fmla="*/ 2147483646 h 10000"/>
                <a:gd name="T70" fmla="*/ 2147483646 w 10616"/>
                <a:gd name="T71" fmla="*/ 2147483646 h 10000"/>
                <a:gd name="T72" fmla="*/ 2147483646 w 10616"/>
                <a:gd name="T73" fmla="*/ 2147483646 h 10000"/>
                <a:gd name="T74" fmla="*/ 2147483646 w 10616"/>
                <a:gd name="T75" fmla="*/ 2147483646 h 10000"/>
                <a:gd name="T76" fmla="*/ 2147483646 w 10616"/>
                <a:gd name="T77" fmla="*/ 2147483646 h 10000"/>
                <a:gd name="T78" fmla="*/ 2147483646 w 10616"/>
                <a:gd name="T79" fmla="*/ 2147483646 h 10000"/>
                <a:gd name="T80" fmla="*/ 2147483646 w 10616"/>
                <a:gd name="T81" fmla="*/ 2147483646 h 10000"/>
                <a:gd name="T82" fmla="*/ 2147483646 w 10616"/>
                <a:gd name="T83" fmla="*/ 2147483646 h 10000"/>
                <a:gd name="T84" fmla="*/ 2147483646 w 10616"/>
                <a:gd name="T85" fmla="*/ 2147483646 h 1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616" h="10000">
                  <a:moveTo>
                    <a:pt x="6379" y="8696"/>
                  </a:moveTo>
                  <a:lnTo>
                    <a:pt x="6718" y="9130"/>
                  </a:lnTo>
                  <a:lnTo>
                    <a:pt x="8582" y="8696"/>
                  </a:lnTo>
                  <a:lnTo>
                    <a:pt x="9430" y="8261"/>
                  </a:lnTo>
                  <a:lnTo>
                    <a:pt x="10277" y="7826"/>
                  </a:lnTo>
                  <a:lnTo>
                    <a:pt x="10616" y="8261"/>
                  </a:lnTo>
                  <a:cubicBezTo>
                    <a:pt x="10560" y="7826"/>
                    <a:pt x="10503" y="7392"/>
                    <a:pt x="10447" y="6957"/>
                  </a:cubicBezTo>
                  <a:lnTo>
                    <a:pt x="10447" y="3913"/>
                  </a:lnTo>
                  <a:cubicBezTo>
                    <a:pt x="10503" y="3768"/>
                    <a:pt x="10560" y="3623"/>
                    <a:pt x="10616" y="3478"/>
                  </a:cubicBezTo>
                  <a:lnTo>
                    <a:pt x="9938" y="1304"/>
                  </a:lnTo>
                  <a:lnTo>
                    <a:pt x="9599" y="435"/>
                  </a:lnTo>
                  <a:lnTo>
                    <a:pt x="9091" y="435"/>
                  </a:lnTo>
                  <a:cubicBezTo>
                    <a:pt x="9034" y="290"/>
                    <a:pt x="8978" y="145"/>
                    <a:pt x="8921" y="0"/>
                  </a:cubicBezTo>
                  <a:lnTo>
                    <a:pt x="8243" y="1304"/>
                  </a:lnTo>
                  <a:lnTo>
                    <a:pt x="7396" y="1304"/>
                  </a:lnTo>
                  <a:lnTo>
                    <a:pt x="7226" y="1304"/>
                  </a:lnTo>
                  <a:lnTo>
                    <a:pt x="6548" y="435"/>
                  </a:lnTo>
                  <a:lnTo>
                    <a:pt x="6040" y="0"/>
                  </a:lnTo>
                  <a:lnTo>
                    <a:pt x="4684" y="0"/>
                  </a:lnTo>
                  <a:lnTo>
                    <a:pt x="4345" y="0"/>
                  </a:lnTo>
                  <a:lnTo>
                    <a:pt x="3836" y="435"/>
                  </a:lnTo>
                  <a:lnTo>
                    <a:pt x="3497" y="1304"/>
                  </a:lnTo>
                  <a:lnTo>
                    <a:pt x="2650" y="1739"/>
                  </a:lnTo>
                  <a:cubicBezTo>
                    <a:pt x="2593" y="1594"/>
                    <a:pt x="2537" y="1449"/>
                    <a:pt x="2480" y="1304"/>
                  </a:cubicBezTo>
                  <a:lnTo>
                    <a:pt x="2311" y="1304"/>
                  </a:lnTo>
                  <a:lnTo>
                    <a:pt x="1972" y="2609"/>
                  </a:lnTo>
                  <a:cubicBezTo>
                    <a:pt x="1746" y="2609"/>
                    <a:pt x="1494" y="2631"/>
                    <a:pt x="1294" y="2609"/>
                  </a:cubicBezTo>
                  <a:cubicBezTo>
                    <a:pt x="1094" y="2587"/>
                    <a:pt x="883" y="2261"/>
                    <a:pt x="770" y="2478"/>
                  </a:cubicBezTo>
                  <a:cubicBezTo>
                    <a:pt x="657" y="2695"/>
                    <a:pt x="333" y="2962"/>
                    <a:pt x="205" y="3117"/>
                  </a:cubicBezTo>
                  <a:cubicBezTo>
                    <a:pt x="77" y="3272"/>
                    <a:pt x="0" y="3266"/>
                    <a:pt x="0" y="3407"/>
                  </a:cubicBezTo>
                  <a:cubicBezTo>
                    <a:pt x="113" y="3701"/>
                    <a:pt x="482" y="5084"/>
                    <a:pt x="698" y="5748"/>
                  </a:cubicBezTo>
                  <a:cubicBezTo>
                    <a:pt x="914" y="6412"/>
                    <a:pt x="1138" y="6900"/>
                    <a:pt x="1294" y="7391"/>
                  </a:cubicBezTo>
                  <a:cubicBezTo>
                    <a:pt x="1450" y="7882"/>
                    <a:pt x="1520" y="8261"/>
                    <a:pt x="1633" y="8696"/>
                  </a:cubicBezTo>
                  <a:lnTo>
                    <a:pt x="3158" y="9130"/>
                  </a:lnTo>
                  <a:lnTo>
                    <a:pt x="3328" y="9130"/>
                  </a:lnTo>
                  <a:lnTo>
                    <a:pt x="4514" y="10000"/>
                  </a:lnTo>
                  <a:lnTo>
                    <a:pt x="5192" y="9130"/>
                  </a:lnTo>
                  <a:lnTo>
                    <a:pt x="5870" y="10000"/>
                  </a:lnTo>
                  <a:lnTo>
                    <a:pt x="6379" y="8696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7" name="Freeform 285"/>
            <p:cNvSpPr>
              <a:spLocks/>
            </p:cNvSpPr>
            <p:nvPr/>
          </p:nvSpPr>
          <p:spPr bwMode="auto">
            <a:xfrm>
              <a:off x="5350351" y="3524612"/>
              <a:ext cx="166632" cy="138536"/>
            </a:xfrm>
            <a:custGeom>
              <a:avLst/>
              <a:gdLst>
                <a:gd name="T0" fmla="*/ 2147483646 w 139"/>
                <a:gd name="T1" fmla="*/ 2147483646 h 114"/>
                <a:gd name="T2" fmla="*/ 2147483646 w 139"/>
                <a:gd name="T3" fmla="*/ 2147483646 h 114"/>
                <a:gd name="T4" fmla="*/ 2147483646 w 139"/>
                <a:gd name="T5" fmla="*/ 2147483646 h 114"/>
                <a:gd name="T6" fmla="*/ 2147483646 w 139"/>
                <a:gd name="T7" fmla="*/ 2147483646 h 114"/>
                <a:gd name="T8" fmla="*/ 2147483646 w 139"/>
                <a:gd name="T9" fmla="*/ 2147483646 h 114"/>
                <a:gd name="T10" fmla="*/ 2147483646 w 139"/>
                <a:gd name="T11" fmla="*/ 2147483646 h 114"/>
                <a:gd name="T12" fmla="*/ 2147483646 w 139"/>
                <a:gd name="T13" fmla="*/ 0 h 114"/>
                <a:gd name="T14" fmla="*/ 2147483646 w 139"/>
                <a:gd name="T15" fmla="*/ 2147483646 h 114"/>
                <a:gd name="T16" fmla="*/ 2147483646 w 139"/>
                <a:gd name="T17" fmla="*/ 2147483646 h 114"/>
                <a:gd name="T18" fmla="*/ 2147483646 w 139"/>
                <a:gd name="T19" fmla="*/ 2147483646 h 114"/>
                <a:gd name="T20" fmla="*/ 2147483646 w 139"/>
                <a:gd name="T21" fmla="*/ 2147483646 h 114"/>
                <a:gd name="T22" fmla="*/ 2147483646 w 139"/>
                <a:gd name="T23" fmla="*/ 2147483646 h 114"/>
                <a:gd name="T24" fmla="*/ 2147483646 w 139"/>
                <a:gd name="T25" fmla="*/ 2147483646 h 114"/>
                <a:gd name="T26" fmla="*/ 0 w 139"/>
                <a:gd name="T27" fmla="*/ 2147483646 h 114"/>
                <a:gd name="T28" fmla="*/ 2147483646 w 139"/>
                <a:gd name="T29" fmla="*/ 2147483646 h 114"/>
                <a:gd name="T30" fmla="*/ 2147483646 w 139"/>
                <a:gd name="T31" fmla="*/ 2147483646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9" h="114">
                  <a:moveTo>
                    <a:pt x="25" y="114"/>
                  </a:moveTo>
                  <a:lnTo>
                    <a:pt x="61" y="96"/>
                  </a:lnTo>
                  <a:lnTo>
                    <a:pt x="73" y="90"/>
                  </a:lnTo>
                  <a:lnTo>
                    <a:pt x="115" y="66"/>
                  </a:lnTo>
                  <a:lnTo>
                    <a:pt x="127" y="24"/>
                  </a:lnTo>
                  <a:lnTo>
                    <a:pt x="139" y="6"/>
                  </a:lnTo>
                  <a:lnTo>
                    <a:pt x="139" y="0"/>
                  </a:lnTo>
                  <a:lnTo>
                    <a:pt x="115" y="6"/>
                  </a:lnTo>
                  <a:lnTo>
                    <a:pt x="49" y="12"/>
                  </a:lnTo>
                  <a:lnTo>
                    <a:pt x="37" y="6"/>
                  </a:lnTo>
                  <a:lnTo>
                    <a:pt x="19" y="24"/>
                  </a:lnTo>
                  <a:lnTo>
                    <a:pt x="25" y="48"/>
                  </a:lnTo>
                  <a:lnTo>
                    <a:pt x="0" y="102"/>
                  </a:lnTo>
                  <a:lnTo>
                    <a:pt x="13" y="102"/>
                  </a:lnTo>
                  <a:lnTo>
                    <a:pt x="25" y="1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8" name="Freeform 286"/>
            <p:cNvSpPr>
              <a:spLocks/>
            </p:cNvSpPr>
            <p:nvPr/>
          </p:nvSpPr>
          <p:spPr bwMode="auto">
            <a:xfrm>
              <a:off x="5328425" y="3634538"/>
              <a:ext cx="116935" cy="109925"/>
            </a:xfrm>
            <a:custGeom>
              <a:avLst/>
              <a:gdLst>
                <a:gd name="T0" fmla="*/ 2147483646 w 97"/>
                <a:gd name="T1" fmla="*/ 2147483646 h 90"/>
                <a:gd name="T2" fmla="*/ 2147483646 w 97"/>
                <a:gd name="T3" fmla="*/ 0 h 90"/>
                <a:gd name="T4" fmla="*/ 2147483646 w 97"/>
                <a:gd name="T5" fmla="*/ 2147483646 h 90"/>
                <a:gd name="T6" fmla="*/ 2147483646 w 97"/>
                <a:gd name="T7" fmla="*/ 2147483646 h 90"/>
                <a:gd name="T8" fmla="*/ 2147483646 w 97"/>
                <a:gd name="T9" fmla="*/ 2147483646 h 90"/>
                <a:gd name="T10" fmla="*/ 2147483646 w 97"/>
                <a:gd name="T11" fmla="*/ 2147483646 h 90"/>
                <a:gd name="T12" fmla="*/ 2147483646 w 97"/>
                <a:gd name="T13" fmla="*/ 2147483646 h 90"/>
                <a:gd name="T14" fmla="*/ 0 w 97"/>
                <a:gd name="T15" fmla="*/ 2147483646 h 90"/>
                <a:gd name="T16" fmla="*/ 2147483646 w 97"/>
                <a:gd name="T17" fmla="*/ 2147483646 h 90"/>
                <a:gd name="T18" fmla="*/ 2147483646 w 97"/>
                <a:gd name="T19" fmla="*/ 2147483646 h 90"/>
                <a:gd name="T20" fmla="*/ 2147483646 w 97"/>
                <a:gd name="T21" fmla="*/ 2147483646 h 90"/>
                <a:gd name="T22" fmla="*/ 2147483646 w 97"/>
                <a:gd name="T23" fmla="*/ 2147483646 h 90"/>
                <a:gd name="T24" fmla="*/ 2147483646 w 97"/>
                <a:gd name="T25" fmla="*/ 2147483646 h 90"/>
                <a:gd name="T26" fmla="*/ 2147483646 w 97"/>
                <a:gd name="T27" fmla="*/ 2147483646 h 90"/>
                <a:gd name="T28" fmla="*/ 2147483646 w 97"/>
                <a:gd name="T29" fmla="*/ 2147483646 h 90"/>
                <a:gd name="T30" fmla="*/ 2147483646 w 97"/>
                <a:gd name="T31" fmla="*/ 2147483646 h 90"/>
                <a:gd name="T32" fmla="*/ 2147483646 w 97"/>
                <a:gd name="T33" fmla="*/ 2147483646 h 90"/>
                <a:gd name="T34" fmla="*/ 2147483646 w 97"/>
                <a:gd name="T35" fmla="*/ 2147483646 h 90"/>
                <a:gd name="T36" fmla="*/ 2147483646 w 97"/>
                <a:gd name="T37" fmla="*/ 2147483646 h 90"/>
                <a:gd name="T38" fmla="*/ 2147483646 w 97"/>
                <a:gd name="T39" fmla="*/ 2147483646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9" name="Freeform 287"/>
            <p:cNvSpPr>
              <a:spLocks/>
            </p:cNvSpPr>
            <p:nvPr/>
          </p:nvSpPr>
          <p:spPr bwMode="auto">
            <a:xfrm>
              <a:off x="5328425" y="3634538"/>
              <a:ext cx="116935" cy="109925"/>
            </a:xfrm>
            <a:custGeom>
              <a:avLst/>
              <a:gdLst>
                <a:gd name="T0" fmla="*/ 2147483646 w 97"/>
                <a:gd name="T1" fmla="*/ 2147483646 h 90"/>
                <a:gd name="T2" fmla="*/ 2147483646 w 97"/>
                <a:gd name="T3" fmla="*/ 0 h 90"/>
                <a:gd name="T4" fmla="*/ 2147483646 w 97"/>
                <a:gd name="T5" fmla="*/ 2147483646 h 90"/>
                <a:gd name="T6" fmla="*/ 2147483646 w 97"/>
                <a:gd name="T7" fmla="*/ 2147483646 h 90"/>
                <a:gd name="T8" fmla="*/ 2147483646 w 97"/>
                <a:gd name="T9" fmla="*/ 2147483646 h 90"/>
                <a:gd name="T10" fmla="*/ 2147483646 w 97"/>
                <a:gd name="T11" fmla="*/ 2147483646 h 90"/>
                <a:gd name="T12" fmla="*/ 2147483646 w 97"/>
                <a:gd name="T13" fmla="*/ 2147483646 h 90"/>
                <a:gd name="T14" fmla="*/ 0 w 97"/>
                <a:gd name="T15" fmla="*/ 2147483646 h 90"/>
                <a:gd name="T16" fmla="*/ 2147483646 w 97"/>
                <a:gd name="T17" fmla="*/ 2147483646 h 90"/>
                <a:gd name="T18" fmla="*/ 2147483646 w 97"/>
                <a:gd name="T19" fmla="*/ 2147483646 h 90"/>
                <a:gd name="T20" fmla="*/ 2147483646 w 97"/>
                <a:gd name="T21" fmla="*/ 2147483646 h 90"/>
                <a:gd name="T22" fmla="*/ 2147483646 w 97"/>
                <a:gd name="T23" fmla="*/ 2147483646 h 90"/>
                <a:gd name="T24" fmla="*/ 2147483646 w 97"/>
                <a:gd name="T25" fmla="*/ 2147483646 h 90"/>
                <a:gd name="T26" fmla="*/ 2147483646 w 97"/>
                <a:gd name="T27" fmla="*/ 2147483646 h 90"/>
                <a:gd name="T28" fmla="*/ 2147483646 w 97"/>
                <a:gd name="T29" fmla="*/ 2147483646 h 90"/>
                <a:gd name="T30" fmla="*/ 2147483646 w 97"/>
                <a:gd name="T31" fmla="*/ 2147483646 h 90"/>
                <a:gd name="T32" fmla="*/ 2147483646 w 97"/>
                <a:gd name="T33" fmla="*/ 2147483646 h 90"/>
                <a:gd name="T34" fmla="*/ 2147483646 w 97"/>
                <a:gd name="T35" fmla="*/ 2147483646 h 90"/>
                <a:gd name="T36" fmla="*/ 2147483646 w 97"/>
                <a:gd name="T37" fmla="*/ 2147483646 h 90"/>
                <a:gd name="T38" fmla="*/ 2147483646 w 97"/>
                <a:gd name="T39" fmla="*/ 2147483646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0" name="Freeform 288"/>
            <p:cNvSpPr>
              <a:spLocks/>
            </p:cNvSpPr>
            <p:nvPr/>
          </p:nvSpPr>
          <p:spPr bwMode="auto">
            <a:xfrm>
              <a:off x="5733313" y="3842341"/>
              <a:ext cx="109626" cy="73785"/>
            </a:xfrm>
            <a:custGeom>
              <a:avLst/>
              <a:gdLst>
                <a:gd name="T0" fmla="*/ 2147483646 w 90"/>
                <a:gd name="T1" fmla="*/ 2147483646 h 60"/>
                <a:gd name="T2" fmla="*/ 2147483646 w 90"/>
                <a:gd name="T3" fmla="*/ 2147483646 h 60"/>
                <a:gd name="T4" fmla="*/ 2147483646 w 90"/>
                <a:gd name="T5" fmla="*/ 2147483646 h 60"/>
                <a:gd name="T6" fmla="*/ 2147483646 w 90"/>
                <a:gd name="T7" fmla="*/ 2147483646 h 60"/>
                <a:gd name="T8" fmla="*/ 2147483646 w 90"/>
                <a:gd name="T9" fmla="*/ 0 h 60"/>
                <a:gd name="T10" fmla="*/ 2147483646 w 90"/>
                <a:gd name="T11" fmla="*/ 2147483646 h 60"/>
                <a:gd name="T12" fmla="*/ 2147483646 w 90"/>
                <a:gd name="T13" fmla="*/ 2147483646 h 60"/>
                <a:gd name="T14" fmla="*/ 0 w 90"/>
                <a:gd name="T15" fmla="*/ 2147483646 h 60"/>
                <a:gd name="T16" fmla="*/ 2147483646 w 90"/>
                <a:gd name="T17" fmla="*/ 2147483646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0" h="60">
                  <a:moveTo>
                    <a:pt x="18" y="48"/>
                  </a:moveTo>
                  <a:lnTo>
                    <a:pt x="66" y="60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84" y="0"/>
                  </a:lnTo>
                  <a:lnTo>
                    <a:pt x="30" y="18"/>
                  </a:lnTo>
                  <a:lnTo>
                    <a:pt x="6" y="6"/>
                  </a:lnTo>
                  <a:lnTo>
                    <a:pt x="0" y="24"/>
                  </a:lnTo>
                  <a:lnTo>
                    <a:pt x="18" y="48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1" name="Freeform 289"/>
            <p:cNvSpPr>
              <a:spLocks/>
            </p:cNvSpPr>
            <p:nvPr/>
          </p:nvSpPr>
          <p:spPr bwMode="auto">
            <a:xfrm>
              <a:off x="5749391" y="3870951"/>
              <a:ext cx="172479" cy="206298"/>
            </a:xfrm>
            <a:custGeom>
              <a:avLst/>
              <a:gdLst>
                <a:gd name="T0" fmla="*/ 2147483646 w 24"/>
                <a:gd name="T1" fmla="*/ 2147483646 h 28"/>
                <a:gd name="T2" fmla="*/ 2147483646 w 24"/>
                <a:gd name="T3" fmla="*/ 2147483646 h 28"/>
                <a:gd name="T4" fmla="*/ 2147483646 w 24"/>
                <a:gd name="T5" fmla="*/ 2147483646 h 28"/>
                <a:gd name="T6" fmla="*/ 2147483646 w 24"/>
                <a:gd name="T7" fmla="*/ 2147483646 h 28"/>
                <a:gd name="T8" fmla="*/ 0 w 24"/>
                <a:gd name="T9" fmla="*/ 2147483646 h 28"/>
                <a:gd name="T10" fmla="*/ 2147483646 w 24"/>
                <a:gd name="T11" fmla="*/ 2147483646 h 28"/>
                <a:gd name="T12" fmla="*/ 2147483646 w 24"/>
                <a:gd name="T13" fmla="*/ 2147483646 h 28"/>
                <a:gd name="T14" fmla="*/ 2147483646 w 24"/>
                <a:gd name="T15" fmla="*/ 2147483646 h 28"/>
                <a:gd name="T16" fmla="*/ 2147483646 w 24"/>
                <a:gd name="T17" fmla="*/ 2147483646 h 28"/>
                <a:gd name="T18" fmla="*/ 2147483646 w 24"/>
                <a:gd name="T19" fmla="*/ 2147483646 h 28"/>
                <a:gd name="T20" fmla="*/ 2147483646 w 24"/>
                <a:gd name="T21" fmla="*/ 2147483646 h 28"/>
                <a:gd name="T22" fmla="*/ 2147483646 w 24"/>
                <a:gd name="T23" fmla="*/ 2147483646 h 28"/>
                <a:gd name="T24" fmla="*/ 2147483646 w 24"/>
                <a:gd name="T25" fmla="*/ 0 h 28"/>
                <a:gd name="T26" fmla="*/ 2147483646 w 24"/>
                <a:gd name="T27" fmla="*/ 0 h 28"/>
                <a:gd name="T28" fmla="*/ 2147483646 w 24"/>
                <a:gd name="T29" fmla="*/ 2147483646 h 28"/>
                <a:gd name="T30" fmla="*/ 2147483646 w 24"/>
                <a:gd name="T31" fmla="*/ 2147483646 h 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4" h="28">
                  <a:moveTo>
                    <a:pt x="9" y="6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3" y="18"/>
                    <a:pt x="0" y="18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9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2" name="Freeform 290"/>
            <p:cNvSpPr>
              <a:spLocks/>
            </p:cNvSpPr>
            <p:nvPr/>
          </p:nvSpPr>
          <p:spPr bwMode="auto">
            <a:xfrm>
              <a:off x="5533061" y="4003464"/>
              <a:ext cx="244102" cy="156606"/>
            </a:xfrm>
            <a:custGeom>
              <a:avLst/>
              <a:gdLst>
                <a:gd name="T0" fmla="*/ 2147483646 w 34"/>
                <a:gd name="T1" fmla="*/ 0 h 21"/>
                <a:gd name="T2" fmla="*/ 2147483646 w 34"/>
                <a:gd name="T3" fmla="*/ 2147483646 h 21"/>
                <a:gd name="T4" fmla="*/ 2147483646 w 34"/>
                <a:gd name="T5" fmla="*/ 2147483646 h 21"/>
                <a:gd name="T6" fmla="*/ 2147483646 w 34"/>
                <a:gd name="T7" fmla="*/ 2147483646 h 21"/>
                <a:gd name="T8" fmla="*/ 0 w 34"/>
                <a:gd name="T9" fmla="*/ 2147483646 h 21"/>
                <a:gd name="T10" fmla="*/ 2147483646 w 34"/>
                <a:gd name="T11" fmla="*/ 2147483646 h 21"/>
                <a:gd name="T12" fmla="*/ 2147483646 w 34"/>
                <a:gd name="T13" fmla="*/ 2147483646 h 21"/>
                <a:gd name="T14" fmla="*/ 2147483646 w 34"/>
                <a:gd name="T15" fmla="*/ 2147483646 h 21"/>
                <a:gd name="T16" fmla="*/ 2147483646 w 34"/>
                <a:gd name="T17" fmla="*/ 2147483646 h 21"/>
                <a:gd name="T18" fmla="*/ 2147483646 w 34"/>
                <a:gd name="T19" fmla="*/ 2147483646 h 21"/>
                <a:gd name="T20" fmla="*/ 2147483646 w 34"/>
                <a:gd name="T21" fmla="*/ 2147483646 h 21"/>
                <a:gd name="T22" fmla="*/ 2147483646 w 34"/>
                <a:gd name="T23" fmla="*/ 2147483646 h 21"/>
                <a:gd name="T24" fmla="*/ 2147483646 w 34"/>
                <a:gd name="T25" fmla="*/ 2147483646 h 21"/>
                <a:gd name="T26" fmla="*/ 2147483646 w 3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4" h="21">
                  <a:moveTo>
                    <a:pt x="30" y="0"/>
                  </a:moveTo>
                  <a:cubicBezTo>
                    <a:pt x="25" y="2"/>
                    <a:pt x="18" y="3"/>
                    <a:pt x="18" y="4"/>
                  </a:cubicBezTo>
                  <a:cubicBezTo>
                    <a:pt x="16" y="5"/>
                    <a:pt x="14" y="7"/>
                    <a:pt x="1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1" y="3"/>
                    <a:pt x="31" y="3"/>
                    <a:pt x="31" y="3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3" name="Freeform 291"/>
            <p:cNvSpPr>
              <a:spLocks/>
            </p:cNvSpPr>
            <p:nvPr/>
          </p:nvSpPr>
          <p:spPr bwMode="auto">
            <a:xfrm>
              <a:off x="5360582" y="3663148"/>
              <a:ext cx="453123" cy="400549"/>
            </a:xfrm>
            <a:custGeom>
              <a:avLst/>
              <a:gdLst>
                <a:gd name="T0" fmla="*/ 2147483646 w 63"/>
                <a:gd name="T1" fmla="*/ 2147483646 h 54"/>
                <a:gd name="T2" fmla="*/ 2147483646 w 63"/>
                <a:gd name="T3" fmla="*/ 2147483646 h 54"/>
                <a:gd name="T4" fmla="*/ 2147483646 w 63"/>
                <a:gd name="T5" fmla="*/ 2147483646 h 54"/>
                <a:gd name="T6" fmla="*/ 2147483646 w 63"/>
                <a:gd name="T7" fmla="*/ 2147483646 h 54"/>
                <a:gd name="T8" fmla="*/ 2147483646 w 63"/>
                <a:gd name="T9" fmla="*/ 2147483646 h 54"/>
                <a:gd name="T10" fmla="*/ 2147483646 w 63"/>
                <a:gd name="T11" fmla="*/ 2147483646 h 54"/>
                <a:gd name="T12" fmla="*/ 2147483646 w 63"/>
                <a:gd name="T13" fmla="*/ 2147483646 h 54"/>
                <a:gd name="T14" fmla="*/ 2147483646 w 63"/>
                <a:gd name="T15" fmla="*/ 2147483646 h 54"/>
                <a:gd name="T16" fmla="*/ 2147483646 w 63"/>
                <a:gd name="T17" fmla="*/ 2147483646 h 54"/>
                <a:gd name="T18" fmla="*/ 2147483646 w 63"/>
                <a:gd name="T19" fmla="*/ 2147483646 h 54"/>
                <a:gd name="T20" fmla="*/ 2147483646 w 63"/>
                <a:gd name="T21" fmla="*/ 2147483646 h 54"/>
                <a:gd name="T22" fmla="*/ 2147483646 w 63"/>
                <a:gd name="T23" fmla="*/ 2147483646 h 54"/>
                <a:gd name="T24" fmla="*/ 2147483646 w 63"/>
                <a:gd name="T25" fmla="*/ 2147483646 h 54"/>
                <a:gd name="T26" fmla="*/ 2147483646 w 63"/>
                <a:gd name="T27" fmla="*/ 2147483646 h 54"/>
                <a:gd name="T28" fmla="*/ 2147483646 w 63"/>
                <a:gd name="T29" fmla="*/ 0 h 54"/>
                <a:gd name="T30" fmla="*/ 2147483646 w 63"/>
                <a:gd name="T31" fmla="*/ 0 h 54"/>
                <a:gd name="T32" fmla="*/ 2147483646 w 63"/>
                <a:gd name="T33" fmla="*/ 2147483646 h 54"/>
                <a:gd name="T34" fmla="*/ 2147483646 w 63"/>
                <a:gd name="T35" fmla="*/ 2147483646 h 54"/>
                <a:gd name="T36" fmla="*/ 2147483646 w 63"/>
                <a:gd name="T37" fmla="*/ 2147483646 h 54"/>
                <a:gd name="T38" fmla="*/ 2147483646 w 63"/>
                <a:gd name="T39" fmla="*/ 2147483646 h 54"/>
                <a:gd name="T40" fmla="*/ 2147483646 w 63"/>
                <a:gd name="T41" fmla="*/ 2147483646 h 54"/>
                <a:gd name="T42" fmla="*/ 2147483646 w 63"/>
                <a:gd name="T43" fmla="*/ 2147483646 h 54"/>
                <a:gd name="T44" fmla="*/ 0 w 63"/>
                <a:gd name="T45" fmla="*/ 2147483646 h 54"/>
                <a:gd name="T46" fmla="*/ 2147483646 w 63"/>
                <a:gd name="T47" fmla="*/ 2147483646 h 54"/>
                <a:gd name="T48" fmla="*/ 2147483646 w 63"/>
                <a:gd name="T49" fmla="*/ 2147483646 h 54"/>
                <a:gd name="T50" fmla="*/ 2147483646 w 63"/>
                <a:gd name="T51" fmla="*/ 2147483646 h 54"/>
                <a:gd name="T52" fmla="*/ 2147483646 w 63"/>
                <a:gd name="T53" fmla="*/ 2147483646 h 54"/>
                <a:gd name="T54" fmla="*/ 2147483646 w 63"/>
                <a:gd name="T55" fmla="*/ 2147483646 h 54"/>
                <a:gd name="T56" fmla="*/ 2147483646 w 63"/>
                <a:gd name="T57" fmla="*/ 2147483646 h 54"/>
                <a:gd name="T58" fmla="*/ 2147483646 w 63"/>
                <a:gd name="T59" fmla="*/ 2147483646 h 54"/>
                <a:gd name="T60" fmla="*/ 2147483646 w 63"/>
                <a:gd name="T61" fmla="*/ 2147483646 h 54"/>
                <a:gd name="T62" fmla="*/ 2147483646 w 63"/>
                <a:gd name="T63" fmla="*/ 2147483646 h 54"/>
                <a:gd name="T64" fmla="*/ 2147483646 w 63"/>
                <a:gd name="T65" fmla="*/ 2147483646 h 54"/>
                <a:gd name="T66" fmla="*/ 2147483646 w 63"/>
                <a:gd name="T67" fmla="*/ 2147483646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63" h="54">
                  <a:moveTo>
                    <a:pt x="63" y="34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40" y="51"/>
                    <a:pt x="42" y="50"/>
                  </a:cubicBezTo>
                  <a:cubicBezTo>
                    <a:pt x="42" y="49"/>
                    <a:pt x="49" y="48"/>
                    <a:pt x="54" y="46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4" name="Freeform 292"/>
            <p:cNvSpPr>
              <a:spLocks/>
            </p:cNvSpPr>
            <p:nvPr/>
          </p:nvSpPr>
          <p:spPr bwMode="auto">
            <a:xfrm>
              <a:off x="5749391" y="3916126"/>
              <a:ext cx="71623" cy="87338"/>
            </a:xfrm>
            <a:custGeom>
              <a:avLst/>
              <a:gdLst>
                <a:gd name="T0" fmla="*/ 0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0 h 12"/>
                <a:gd name="T8" fmla="*/ 2147483646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cubicBezTo>
                    <a:pt x="3" y="12"/>
                    <a:pt x="4" y="11"/>
                    <a:pt x="4" y="1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5" name="Freeform 293"/>
            <p:cNvSpPr>
              <a:spLocks/>
            </p:cNvSpPr>
            <p:nvPr/>
          </p:nvSpPr>
          <p:spPr bwMode="auto">
            <a:xfrm>
              <a:off x="5438052" y="3515577"/>
              <a:ext cx="229484" cy="237920"/>
            </a:xfrm>
            <a:custGeom>
              <a:avLst/>
              <a:gdLst>
                <a:gd name="T0" fmla="*/ 2147483646 w 192"/>
                <a:gd name="T1" fmla="*/ 2147483646 h 192"/>
                <a:gd name="T2" fmla="*/ 2147483646 w 192"/>
                <a:gd name="T3" fmla="*/ 2147483646 h 192"/>
                <a:gd name="T4" fmla="*/ 2147483646 w 192"/>
                <a:gd name="T5" fmla="*/ 2147483646 h 192"/>
                <a:gd name="T6" fmla="*/ 2147483646 w 192"/>
                <a:gd name="T7" fmla="*/ 2147483646 h 192"/>
                <a:gd name="T8" fmla="*/ 2147483646 w 192"/>
                <a:gd name="T9" fmla="*/ 2147483646 h 192"/>
                <a:gd name="T10" fmla="*/ 2147483646 w 192"/>
                <a:gd name="T11" fmla="*/ 0 h 192"/>
                <a:gd name="T12" fmla="*/ 2147483646 w 192"/>
                <a:gd name="T13" fmla="*/ 2147483646 h 192"/>
                <a:gd name="T14" fmla="*/ 2147483646 w 192"/>
                <a:gd name="T15" fmla="*/ 2147483646 h 192"/>
                <a:gd name="T16" fmla="*/ 2147483646 w 192"/>
                <a:gd name="T17" fmla="*/ 2147483646 h 192"/>
                <a:gd name="T18" fmla="*/ 2147483646 w 192"/>
                <a:gd name="T19" fmla="*/ 2147483646 h 192"/>
                <a:gd name="T20" fmla="*/ 2147483646 w 192"/>
                <a:gd name="T21" fmla="*/ 2147483646 h 192"/>
                <a:gd name="T22" fmla="*/ 0 w 192"/>
                <a:gd name="T23" fmla="*/ 2147483646 h 192"/>
                <a:gd name="T24" fmla="*/ 0 w 192"/>
                <a:gd name="T25" fmla="*/ 2147483646 h 192"/>
                <a:gd name="T26" fmla="*/ 2147483646 w 192"/>
                <a:gd name="T27" fmla="*/ 2147483646 h 192"/>
                <a:gd name="T28" fmla="*/ 2147483646 w 192"/>
                <a:gd name="T29" fmla="*/ 2147483646 h 192"/>
                <a:gd name="T30" fmla="*/ 2147483646 w 192"/>
                <a:gd name="T31" fmla="*/ 2147483646 h 192"/>
                <a:gd name="T32" fmla="*/ 2147483646 w 192"/>
                <a:gd name="T33" fmla="*/ 2147483646 h 192"/>
                <a:gd name="T34" fmla="*/ 2147483646 w 192"/>
                <a:gd name="T35" fmla="*/ 2147483646 h 192"/>
                <a:gd name="T36" fmla="*/ 2147483646 w 192"/>
                <a:gd name="T37" fmla="*/ 2147483646 h 192"/>
                <a:gd name="T38" fmla="*/ 2147483646 w 192"/>
                <a:gd name="T39" fmla="*/ 2147483646 h 192"/>
                <a:gd name="T40" fmla="*/ 2147483646 w 192"/>
                <a:gd name="T41" fmla="*/ 2147483646 h 192"/>
                <a:gd name="T42" fmla="*/ 2147483646 w 192"/>
                <a:gd name="T43" fmla="*/ 2147483646 h 192"/>
                <a:gd name="T44" fmla="*/ 2147483646 w 192"/>
                <a:gd name="T45" fmla="*/ 2147483646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2" h="192">
                  <a:moveTo>
                    <a:pt x="168" y="120"/>
                  </a:moveTo>
                  <a:lnTo>
                    <a:pt x="132" y="90"/>
                  </a:lnTo>
                  <a:lnTo>
                    <a:pt x="132" y="66"/>
                  </a:lnTo>
                  <a:lnTo>
                    <a:pt x="138" y="42"/>
                  </a:lnTo>
                  <a:lnTo>
                    <a:pt x="114" y="6"/>
                  </a:lnTo>
                  <a:lnTo>
                    <a:pt x="10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6" y="12"/>
                  </a:lnTo>
                  <a:lnTo>
                    <a:pt x="54" y="30"/>
                  </a:lnTo>
                  <a:lnTo>
                    <a:pt x="42" y="72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24" y="126"/>
                  </a:lnTo>
                  <a:lnTo>
                    <a:pt x="84" y="156"/>
                  </a:lnTo>
                  <a:lnTo>
                    <a:pt x="102" y="174"/>
                  </a:lnTo>
                  <a:lnTo>
                    <a:pt x="150" y="180"/>
                  </a:lnTo>
                  <a:lnTo>
                    <a:pt x="168" y="192"/>
                  </a:lnTo>
                  <a:lnTo>
                    <a:pt x="186" y="192"/>
                  </a:lnTo>
                  <a:lnTo>
                    <a:pt x="180" y="180"/>
                  </a:lnTo>
                  <a:lnTo>
                    <a:pt x="192" y="174"/>
                  </a:lnTo>
                  <a:lnTo>
                    <a:pt x="180" y="150"/>
                  </a:lnTo>
                  <a:lnTo>
                    <a:pt x="168" y="1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6" name="Freeform 294"/>
            <p:cNvSpPr>
              <a:spLocks/>
            </p:cNvSpPr>
            <p:nvPr/>
          </p:nvSpPr>
          <p:spPr bwMode="auto">
            <a:xfrm>
              <a:off x="5569604" y="3450827"/>
              <a:ext cx="432659" cy="405066"/>
            </a:xfrm>
            <a:custGeom>
              <a:avLst/>
              <a:gdLst>
                <a:gd name="T0" fmla="*/ 2147483646 w 60"/>
                <a:gd name="T1" fmla="*/ 2147483646 h 55"/>
                <a:gd name="T2" fmla="*/ 2147483646 w 60"/>
                <a:gd name="T3" fmla="*/ 2147483646 h 55"/>
                <a:gd name="T4" fmla="*/ 2147483646 w 60"/>
                <a:gd name="T5" fmla="*/ 2147483646 h 55"/>
                <a:gd name="T6" fmla="*/ 2147483646 w 60"/>
                <a:gd name="T7" fmla="*/ 2147483646 h 55"/>
                <a:gd name="T8" fmla="*/ 2147483646 w 60"/>
                <a:gd name="T9" fmla="*/ 2147483646 h 55"/>
                <a:gd name="T10" fmla="*/ 2147483646 w 60"/>
                <a:gd name="T11" fmla="*/ 2147483646 h 55"/>
                <a:gd name="T12" fmla="*/ 2147483646 w 60"/>
                <a:gd name="T13" fmla="*/ 2147483646 h 55"/>
                <a:gd name="T14" fmla="*/ 2147483646 w 60"/>
                <a:gd name="T15" fmla="*/ 2147483646 h 55"/>
                <a:gd name="T16" fmla="*/ 2147483646 w 60"/>
                <a:gd name="T17" fmla="*/ 2147483646 h 55"/>
                <a:gd name="T18" fmla="*/ 2147483646 w 60"/>
                <a:gd name="T19" fmla="*/ 2147483646 h 55"/>
                <a:gd name="T20" fmla="*/ 2147483646 w 60"/>
                <a:gd name="T21" fmla="*/ 2147483646 h 55"/>
                <a:gd name="T22" fmla="*/ 2147483646 w 60"/>
                <a:gd name="T23" fmla="*/ 2147483646 h 55"/>
                <a:gd name="T24" fmla="*/ 2147483646 w 60"/>
                <a:gd name="T25" fmla="*/ 2147483646 h 55"/>
                <a:gd name="T26" fmla="*/ 2147483646 w 60"/>
                <a:gd name="T27" fmla="*/ 2147483646 h 55"/>
                <a:gd name="T28" fmla="*/ 2147483646 w 60"/>
                <a:gd name="T29" fmla="*/ 2147483646 h 55"/>
                <a:gd name="T30" fmla="*/ 2147483646 w 60"/>
                <a:gd name="T31" fmla="*/ 2147483646 h 55"/>
                <a:gd name="T32" fmla="*/ 2147483646 w 60"/>
                <a:gd name="T33" fmla="*/ 2147483646 h 55"/>
                <a:gd name="T34" fmla="*/ 2147483646 w 60"/>
                <a:gd name="T35" fmla="*/ 2147483646 h 55"/>
                <a:gd name="T36" fmla="*/ 2147483646 w 60"/>
                <a:gd name="T37" fmla="*/ 2147483646 h 55"/>
                <a:gd name="T38" fmla="*/ 2147483646 w 60"/>
                <a:gd name="T39" fmla="*/ 2147483646 h 55"/>
                <a:gd name="T40" fmla="*/ 2147483646 w 60"/>
                <a:gd name="T41" fmla="*/ 0 h 55"/>
                <a:gd name="T42" fmla="*/ 2147483646 w 60"/>
                <a:gd name="T43" fmla="*/ 2147483646 h 55"/>
                <a:gd name="T44" fmla="*/ 2147483646 w 60"/>
                <a:gd name="T45" fmla="*/ 2147483646 h 55"/>
                <a:gd name="T46" fmla="*/ 0 w 60"/>
                <a:gd name="T47" fmla="*/ 0 h 55"/>
                <a:gd name="T48" fmla="*/ 0 w 60"/>
                <a:gd name="T49" fmla="*/ 0 h 55"/>
                <a:gd name="T50" fmla="*/ 0 w 60"/>
                <a:gd name="T51" fmla="*/ 2147483646 h 55"/>
                <a:gd name="T52" fmla="*/ 2147483646 w 60"/>
                <a:gd name="T53" fmla="*/ 2147483646 h 55"/>
                <a:gd name="T54" fmla="*/ 2147483646 w 60"/>
                <a:gd name="T55" fmla="*/ 2147483646 h 55"/>
                <a:gd name="T56" fmla="*/ 2147483646 w 60"/>
                <a:gd name="T57" fmla="*/ 2147483646 h 55"/>
                <a:gd name="T58" fmla="*/ 2147483646 w 60"/>
                <a:gd name="T59" fmla="*/ 2147483646 h 55"/>
                <a:gd name="T60" fmla="*/ 2147483646 w 60"/>
                <a:gd name="T61" fmla="*/ 2147483646 h 55"/>
                <a:gd name="T62" fmla="*/ 2147483646 w 60"/>
                <a:gd name="T63" fmla="*/ 2147483646 h 55"/>
                <a:gd name="T64" fmla="*/ 2147483646 w 60"/>
                <a:gd name="T65" fmla="*/ 2147483646 h 55"/>
                <a:gd name="T66" fmla="*/ 2147483646 w 60"/>
                <a:gd name="T67" fmla="*/ 2147483646 h 55"/>
                <a:gd name="T68" fmla="*/ 2147483646 w 60"/>
                <a:gd name="T69" fmla="*/ 2147483646 h 55"/>
                <a:gd name="T70" fmla="*/ 2147483646 w 60"/>
                <a:gd name="T71" fmla="*/ 2147483646 h 55"/>
                <a:gd name="T72" fmla="*/ 2147483646 w 60"/>
                <a:gd name="T73" fmla="*/ 2147483646 h 55"/>
                <a:gd name="T74" fmla="*/ 2147483646 w 60"/>
                <a:gd name="T75" fmla="*/ 2147483646 h 55"/>
                <a:gd name="T76" fmla="*/ 2147483646 w 60"/>
                <a:gd name="T77" fmla="*/ 2147483646 h 55"/>
                <a:gd name="T78" fmla="*/ 2147483646 w 60"/>
                <a:gd name="T79" fmla="*/ 2147483646 h 55"/>
                <a:gd name="T80" fmla="*/ 2147483646 w 60"/>
                <a:gd name="T81" fmla="*/ 2147483646 h 55"/>
                <a:gd name="T82" fmla="*/ 2147483646 w 60"/>
                <a:gd name="T83" fmla="*/ 2147483646 h 55"/>
                <a:gd name="T84" fmla="*/ 2147483646 w 60"/>
                <a:gd name="T85" fmla="*/ 2147483646 h 55"/>
                <a:gd name="T86" fmla="*/ 2147483646 w 60"/>
                <a:gd name="T87" fmla="*/ 2147483646 h 55"/>
                <a:gd name="T88" fmla="*/ 2147483646 w 60"/>
                <a:gd name="T89" fmla="*/ 2147483646 h 55"/>
                <a:gd name="T90" fmla="*/ 2147483646 w 60"/>
                <a:gd name="T91" fmla="*/ 2147483646 h 55"/>
                <a:gd name="T92" fmla="*/ 2147483646 w 60"/>
                <a:gd name="T93" fmla="*/ 2147483646 h 55"/>
                <a:gd name="T94" fmla="*/ 2147483646 w 60"/>
                <a:gd name="T95" fmla="*/ 2147483646 h 55"/>
                <a:gd name="T96" fmla="*/ 2147483646 w 60"/>
                <a:gd name="T97" fmla="*/ 2147483646 h 5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0" h="55"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6"/>
                    <a:pt x="0" y="7"/>
                  </a:cubicBezTo>
                  <a:cubicBezTo>
                    <a:pt x="0" y="7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38"/>
                    <a:pt x="53" y="38"/>
                    <a:pt x="53" y="38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7" name="Freeform 299"/>
            <p:cNvSpPr>
              <a:spLocks/>
            </p:cNvSpPr>
            <p:nvPr/>
          </p:nvSpPr>
          <p:spPr bwMode="auto">
            <a:xfrm>
              <a:off x="5024394" y="2857533"/>
              <a:ext cx="146169" cy="102396"/>
            </a:xfrm>
            <a:custGeom>
              <a:avLst/>
              <a:gdLst>
                <a:gd name="T0" fmla="*/ 2147483646 w 20"/>
                <a:gd name="T1" fmla="*/ 2147483646 h 14"/>
                <a:gd name="T2" fmla="*/ 2147483646 w 20"/>
                <a:gd name="T3" fmla="*/ 2147483646 h 14"/>
                <a:gd name="T4" fmla="*/ 2147483646 w 20"/>
                <a:gd name="T5" fmla="*/ 0 h 14"/>
                <a:gd name="T6" fmla="*/ 2147483646 w 20"/>
                <a:gd name="T7" fmla="*/ 2147483646 h 14"/>
                <a:gd name="T8" fmla="*/ 2147483646 w 20"/>
                <a:gd name="T9" fmla="*/ 0 h 14"/>
                <a:gd name="T10" fmla="*/ 2147483646 w 20"/>
                <a:gd name="T11" fmla="*/ 0 h 14"/>
                <a:gd name="T12" fmla="*/ 2147483646 w 20"/>
                <a:gd name="T13" fmla="*/ 2147483646 h 14"/>
                <a:gd name="T14" fmla="*/ 2147483646 w 20"/>
                <a:gd name="T15" fmla="*/ 2147483646 h 14"/>
                <a:gd name="T16" fmla="*/ 0 w 20"/>
                <a:gd name="T17" fmla="*/ 2147483646 h 14"/>
                <a:gd name="T18" fmla="*/ 2147483646 w 20"/>
                <a:gd name="T19" fmla="*/ 2147483646 h 14"/>
                <a:gd name="T20" fmla="*/ 2147483646 w 20"/>
                <a:gd name="T21" fmla="*/ 2147483646 h 14"/>
                <a:gd name="T22" fmla="*/ 2147483646 w 20"/>
                <a:gd name="T23" fmla="*/ 2147483646 h 14"/>
                <a:gd name="T24" fmla="*/ 2147483646 w 20"/>
                <a:gd name="T25" fmla="*/ 2147483646 h 14"/>
                <a:gd name="T26" fmla="*/ 2147483646 w 20"/>
                <a:gd name="T27" fmla="*/ 2147483646 h 14"/>
                <a:gd name="T28" fmla="*/ 2147483646 w 20"/>
                <a:gd name="T29" fmla="*/ 2147483646 h 14"/>
                <a:gd name="T30" fmla="*/ 2147483646 w 20"/>
                <a:gd name="T31" fmla="*/ 2147483646 h 14"/>
                <a:gd name="T32" fmla="*/ 2147483646 w 20"/>
                <a:gd name="T33" fmla="*/ 2147483646 h 14"/>
                <a:gd name="T34" fmla="*/ 2147483646 w 20"/>
                <a:gd name="T35" fmla="*/ 2147483646 h 14"/>
                <a:gd name="T36" fmla="*/ 2147483646 w 20"/>
                <a:gd name="T37" fmla="*/ 2147483646 h 14"/>
                <a:gd name="T38" fmla="*/ 2147483646 w 20"/>
                <a:gd name="T39" fmla="*/ 2147483646 h 14"/>
                <a:gd name="T40" fmla="*/ 2147483646 w 20"/>
                <a:gd name="T41" fmla="*/ 2147483646 h 14"/>
                <a:gd name="T42" fmla="*/ 2147483646 w 20"/>
                <a:gd name="T43" fmla="*/ 2147483646 h 14"/>
                <a:gd name="T44" fmla="*/ 2147483646 w 20"/>
                <a:gd name="T45" fmla="*/ 2147483646 h 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" h="14">
                  <a:moveTo>
                    <a:pt x="19" y="4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3"/>
                    <a:pt x="1" y="5"/>
                    <a:pt x="1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5" y="12"/>
                    <a:pt x="16" y="12"/>
                  </a:cubicBezTo>
                  <a:cubicBezTo>
                    <a:pt x="17" y="12"/>
                    <a:pt x="16" y="9"/>
                    <a:pt x="16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8" name="Freeform 300"/>
            <p:cNvSpPr>
              <a:spLocks/>
            </p:cNvSpPr>
            <p:nvPr/>
          </p:nvSpPr>
          <p:spPr bwMode="auto">
            <a:xfrm>
              <a:off x="5088709" y="2715986"/>
              <a:ext cx="109627" cy="96373"/>
            </a:xfrm>
            <a:custGeom>
              <a:avLst/>
              <a:gdLst>
                <a:gd name="T0" fmla="*/ 2147483646 w 90"/>
                <a:gd name="T1" fmla="*/ 2147483646 h 78"/>
                <a:gd name="T2" fmla="*/ 2147483646 w 90"/>
                <a:gd name="T3" fmla="*/ 2147483646 h 78"/>
                <a:gd name="T4" fmla="*/ 2147483646 w 90"/>
                <a:gd name="T5" fmla="*/ 2147483646 h 78"/>
                <a:gd name="T6" fmla="*/ 2147483646 w 90"/>
                <a:gd name="T7" fmla="*/ 2147483646 h 78"/>
                <a:gd name="T8" fmla="*/ 2147483646 w 90"/>
                <a:gd name="T9" fmla="*/ 2147483646 h 78"/>
                <a:gd name="T10" fmla="*/ 2147483646 w 90"/>
                <a:gd name="T11" fmla="*/ 0 h 78"/>
                <a:gd name="T12" fmla="*/ 2147483646 w 90"/>
                <a:gd name="T13" fmla="*/ 0 h 78"/>
                <a:gd name="T14" fmla="*/ 2147483646 w 90"/>
                <a:gd name="T15" fmla="*/ 0 h 78"/>
                <a:gd name="T16" fmla="*/ 0 w 90"/>
                <a:gd name="T17" fmla="*/ 2147483646 h 78"/>
                <a:gd name="T18" fmla="*/ 0 w 90"/>
                <a:gd name="T19" fmla="*/ 2147483646 h 78"/>
                <a:gd name="T20" fmla="*/ 2147483646 w 90"/>
                <a:gd name="T21" fmla="*/ 2147483646 h 78"/>
                <a:gd name="T22" fmla="*/ 2147483646 w 90"/>
                <a:gd name="T23" fmla="*/ 2147483646 h 78"/>
                <a:gd name="T24" fmla="*/ 2147483646 w 90"/>
                <a:gd name="T25" fmla="*/ 2147483646 h 78"/>
                <a:gd name="T26" fmla="*/ 2147483646 w 90"/>
                <a:gd name="T27" fmla="*/ 2147483646 h 78"/>
                <a:gd name="T28" fmla="*/ 2147483646 w 90"/>
                <a:gd name="T29" fmla="*/ 2147483646 h 78"/>
                <a:gd name="T30" fmla="*/ 2147483646 w 90"/>
                <a:gd name="T31" fmla="*/ 2147483646 h 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0" h="78">
                  <a:moveTo>
                    <a:pt x="54" y="66"/>
                  </a:moveTo>
                  <a:lnTo>
                    <a:pt x="78" y="7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36" y="0"/>
                  </a:lnTo>
                  <a:lnTo>
                    <a:pt x="0" y="18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36" y="54"/>
                  </a:lnTo>
                  <a:lnTo>
                    <a:pt x="54" y="6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9" name="Freeform 301"/>
            <p:cNvSpPr>
              <a:spLocks/>
            </p:cNvSpPr>
            <p:nvPr/>
          </p:nvSpPr>
          <p:spPr bwMode="auto">
            <a:xfrm>
              <a:off x="5084324" y="2865062"/>
              <a:ext cx="214868" cy="200275"/>
            </a:xfrm>
            <a:custGeom>
              <a:avLst/>
              <a:gdLst>
                <a:gd name="T0" fmla="*/ 2147483646 w 30"/>
                <a:gd name="T1" fmla="*/ 2147483646 h 27"/>
                <a:gd name="T2" fmla="*/ 2147483646 w 30"/>
                <a:gd name="T3" fmla="*/ 2147483646 h 27"/>
                <a:gd name="T4" fmla="*/ 2147483646 w 30"/>
                <a:gd name="T5" fmla="*/ 2147483646 h 27"/>
                <a:gd name="T6" fmla="*/ 2147483646 w 30"/>
                <a:gd name="T7" fmla="*/ 2147483646 h 27"/>
                <a:gd name="T8" fmla="*/ 2147483646 w 30"/>
                <a:gd name="T9" fmla="*/ 0 h 27"/>
                <a:gd name="T10" fmla="*/ 2147483646 w 30"/>
                <a:gd name="T11" fmla="*/ 2147483646 h 27"/>
                <a:gd name="T12" fmla="*/ 2147483646 w 30"/>
                <a:gd name="T13" fmla="*/ 2147483646 h 27"/>
                <a:gd name="T14" fmla="*/ 2147483646 w 30"/>
                <a:gd name="T15" fmla="*/ 2147483646 h 27"/>
                <a:gd name="T16" fmla="*/ 2147483646 w 30"/>
                <a:gd name="T17" fmla="*/ 2147483646 h 27"/>
                <a:gd name="T18" fmla="*/ 2147483646 w 30"/>
                <a:gd name="T19" fmla="*/ 2147483646 h 27"/>
                <a:gd name="T20" fmla="*/ 2147483646 w 30"/>
                <a:gd name="T21" fmla="*/ 2147483646 h 27"/>
                <a:gd name="T22" fmla="*/ 2147483646 w 30"/>
                <a:gd name="T23" fmla="*/ 2147483646 h 27"/>
                <a:gd name="T24" fmla="*/ 2147483646 w 30"/>
                <a:gd name="T25" fmla="*/ 2147483646 h 27"/>
                <a:gd name="T26" fmla="*/ 2147483646 w 30"/>
                <a:gd name="T27" fmla="*/ 2147483646 h 27"/>
                <a:gd name="T28" fmla="*/ 2147483646 w 30"/>
                <a:gd name="T29" fmla="*/ 2147483646 h 27"/>
                <a:gd name="T30" fmla="*/ 2147483646 w 30"/>
                <a:gd name="T31" fmla="*/ 2147483646 h 27"/>
                <a:gd name="T32" fmla="*/ 0 w 30"/>
                <a:gd name="T33" fmla="*/ 2147483646 h 27"/>
                <a:gd name="T34" fmla="*/ 2147483646 w 30"/>
                <a:gd name="T35" fmla="*/ 2147483646 h 27"/>
                <a:gd name="T36" fmla="*/ 2147483646 w 30"/>
                <a:gd name="T37" fmla="*/ 2147483646 h 27"/>
                <a:gd name="T38" fmla="*/ 2147483646 w 30"/>
                <a:gd name="T39" fmla="*/ 2147483646 h 27"/>
                <a:gd name="T40" fmla="*/ 2147483646 w 30"/>
                <a:gd name="T41" fmla="*/ 2147483646 h 27"/>
                <a:gd name="T42" fmla="*/ 2147483646 w 30"/>
                <a:gd name="T43" fmla="*/ 2147483646 h 27"/>
                <a:gd name="T44" fmla="*/ 2147483646 w 30"/>
                <a:gd name="T45" fmla="*/ 2147483646 h 27"/>
                <a:gd name="T46" fmla="*/ 2147483646 w 30"/>
                <a:gd name="T47" fmla="*/ 2147483646 h 27"/>
                <a:gd name="T48" fmla="*/ 2147483646 w 30"/>
                <a:gd name="T49" fmla="*/ 2147483646 h 27"/>
                <a:gd name="T50" fmla="*/ 2147483646 w 30"/>
                <a:gd name="T51" fmla="*/ 2147483646 h 27"/>
                <a:gd name="T52" fmla="*/ 2147483646 w 30"/>
                <a:gd name="T53" fmla="*/ 2147483646 h 27"/>
                <a:gd name="T54" fmla="*/ 2147483646 w 30"/>
                <a:gd name="T55" fmla="*/ 2147483646 h 27"/>
                <a:gd name="T56" fmla="*/ 2147483646 w 30"/>
                <a:gd name="T57" fmla="*/ 2147483646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0" h="27">
                  <a:moveTo>
                    <a:pt x="30" y="14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9" y="11"/>
                    <a:pt x="8" y="11"/>
                  </a:cubicBezTo>
                  <a:cubicBezTo>
                    <a:pt x="7" y="11"/>
                    <a:pt x="5" y="11"/>
                    <a:pt x="5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9" y="16"/>
                    <a:pt x="29" y="16"/>
                    <a:pt x="29" y="16"/>
                  </a:cubicBezTo>
                  <a:lnTo>
                    <a:pt x="30" y="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0" name="Freeform 302"/>
            <p:cNvSpPr>
              <a:spLocks/>
            </p:cNvSpPr>
            <p:nvPr/>
          </p:nvSpPr>
          <p:spPr bwMode="auto">
            <a:xfrm>
              <a:off x="5031703" y="2783747"/>
              <a:ext cx="175402" cy="102396"/>
            </a:xfrm>
            <a:custGeom>
              <a:avLst/>
              <a:gdLst>
                <a:gd name="T0" fmla="*/ 2147483646 w 24"/>
                <a:gd name="T1" fmla="*/ 2147483646 h 14"/>
                <a:gd name="T2" fmla="*/ 2147483646 w 24"/>
                <a:gd name="T3" fmla="*/ 2147483646 h 14"/>
                <a:gd name="T4" fmla="*/ 2147483646 w 24"/>
                <a:gd name="T5" fmla="*/ 2147483646 h 14"/>
                <a:gd name="T6" fmla="*/ 2147483646 w 24"/>
                <a:gd name="T7" fmla="*/ 2147483646 h 14"/>
                <a:gd name="T8" fmla="*/ 2147483646 w 24"/>
                <a:gd name="T9" fmla="*/ 2147483646 h 14"/>
                <a:gd name="T10" fmla="*/ 2147483646 w 24"/>
                <a:gd name="T11" fmla="*/ 2147483646 h 14"/>
                <a:gd name="T12" fmla="*/ 2147483646 w 24"/>
                <a:gd name="T13" fmla="*/ 2147483646 h 14"/>
                <a:gd name="T14" fmla="*/ 2147483646 w 24"/>
                <a:gd name="T15" fmla="*/ 2147483646 h 14"/>
                <a:gd name="T16" fmla="*/ 2147483646 w 24"/>
                <a:gd name="T17" fmla="*/ 2147483646 h 14"/>
                <a:gd name="T18" fmla="*/ 2147483646 w 24"/>
                <a:gd name="T19" fmla="*/ 2147483646 h 14"/>
                <a:gd name="T20" fmla="*/ 2147483646 w 24"/>
                <a:gd name="T21" fmla="*/ 2147483646 h 14"/>
                <a:gd name="T22" fmla="*/ 2147483646 w 24"/>
                <a:gd name="T23" fmla="*/ 0 h 14"/>
                <a:gd name="T24" fmla="*/ 2147483646 w 24"/>
                <a:gd name="T25" fmla="*/ 2147483646 h 14"/>
                <a:gd name="T26" fmla="*/ 2147483646 w 24"/>
                <a:gd name="T27" fmla="*/ 2147483646 h 14"/>
                <a:gd name="T28" fmla="*/ 2147483646 w 24"/>
                <a:gd name="T29" fmla="*/ 2147483646 h 14"/>
                <a:gd name="T30" fmla="*/ 2147483646 w 24"/>
                <a:gd name="T31" fmla="*/ 2147483646 h 14"/>
                <a:gd name="T32" fmla="*/ 2147483646 w 24"/>
                <a:gd name="T33" fmla="*/ 2147483646 h 14"/>
                <a:gd name="T34" fmla="*/ 2147483646 w 24"/>
                <a:gd name="T35" fmla="*/ 2147483646 h 14"/>
                <a:gd name="T36" fmla="*/ 0 w 24"/>
                <a:gd name="T37" fmla="*/ 2147483646 h 14"/>
                <a:gd name="T38" fmla="*/ 2147483646 w 24"/>
                <a:gd name="T39" fmla="*/ 2147483646 h 14"/>
                <a:gd name="T40" fmla="*/ 2147483646 w 24"/>
                <a:gd name="T41" fmla="*/ 2147483646 h 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4" h="14">
                  <a:moveTo>
                    <a:pt x="8" y="10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1" y="7"/>
                    <a:pt x="1" y="8"/>
                  </a:cubicBezTo>
                  <a:cubicBezTo>
                    <a:pt x="1" y="8"/>
                    <a:pt x="0" y="10"/>
                    <a:pt x="0" y="11"/>
                  </a:cubicBezTo>
                  <a:cubicBezTo>
                    <a:pt x="4" y="10"/>
                    <a:pt x="4" y="10"/>
                    <a:pt x="4" y="10"/>
                  </a:cubicBezTo>
                  <a:lnTo>
                    <a:pt x="8" y="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1" name="Freeform 303"/>
            <p:cNvSpPr>
              <a:spLocks/>
            </p:cNvSpPr>
            <p:nvPr/>
          </p:nvSpPr>
          <p:spPr bwMode="auto">
            <a:xfrm>
              <a:off x="4201465" y="4160069"/>
              <a:ext cx="173940" cy="134019"/>
            </a:xfrm>
            <a:custGeom>
              <a:avLst/>
              <a:gdLst>
                <a:gd name="T0" fmla="*/ 2147483646 w 24"/>
                <a:gd name="T1" fmla="*/ 2147483646 h 18"/>
                <a:gd name="T2" fmla="*/ 2147483646 w 24"/>
                <a:gd name="T3" fmla="*/ 2147483646 h 18"/>
                <a:gd name="T4" fmla="*/ 2147483646 w 24"/>
                <a:gd name="T5" fmla="*/ 2147483646 h 18"/>
                <a:gd name="T6" fmla="*/ 2147483646 w 24"/>
                <a:gd name="T7" fmla="*/ 2147483646 h 18"/>
                <a:gd name="T8" fmla="*/ 2147483646 w 24"/>
                <a:gd name="T9" fmla="*/ 2147483646 h 18"/>
                <a:gd name="T10" fmla="*/ 2147483646 w 24"/>
                <a:gd name="T11" fmla="*/ 2147483646 h 18"/>
                <a:gd name="T12" fmla="*/ 2147483646 w 24"/>
                <a:gd name="T13" fmla="*/ 2147483646 h 18"/>
                <a:gd name="T14" fmla="*/ 2147483646 w 24"/>
                <a:gd name="T15" fmla="*/ 2147483646 h 18"/>
                <a:gd name="T16" fmla="*/ 2147483646 w 24"/>
                <a:gd name="T17" fmla="*/ 2147483646 h 18"/>
                <a:gd name="T18" fmla="*/ 2147483646 w 24"/>
                <a:gd name="T19" fmla="*/ 2147483646 h 18"/>
                <a:gd name="T20" fmla="*/ 2147483646 w 24"/>
                <a:gd name="T21" fmla="*/ 2147483646 h 18"/>
                <a:gd name="T22" fmla="*/ 2147483646 w 24"/>
                <a:gd name="T23" fmla="*/ 2147483646 h 18"/>
                <a:gd name="T24" fmla="*/ 2147483646 w 24"/>
                <a:gd name="T25" fmla="*/ 2147483646 h 18"/>
                <a:gd name="T26" fmla="*/ 2147483646 w 24"/>
                <a:gd name="T27" fmla="*/ 2147483646 h 18"/>
                <a:gd name="T28" fmla="*/ 2147483646 w 24"/>
                <a:gd name="T29" fmla="*/ 2147483646 h 18"/>
                <a:gd name="T30" fmla="*/ 2147483646 w 24"/>
                <a:gd name="T31" fmla="*/ 2147483646 h 18"/>
                <a:gd name="T32" fmla="*/ 2147483646 w 24"/>
                <a:gd name="T33" fmla="*/ 0 h 18"/>
                <a:gd name="T34" fmla="*/ 2147483646 w 24"/>
                <a:gd name="T35" fmla="*/ 0 h 18"/>
                <a:gd name="T36" fmla="*/ 2147483646 w 24"/>
                <a:gd name="T37" fmla="*/ 2147483646 h 18"/>
                <a:gd name="T38" fmla="*/ 2147483646 w 24"/>
                <a:gd name="T39" fmla="*/ 2147483646 h 18"/>
                <a:gd name="T40" fmla="*/ 2147483646 w 24"/>
                <a:gd name="T41" fmla="*/ 2147483646 h 18"/>
                <a:gd name="T42" fmla="*/ 0 w 24"/>
                <a:gd name="T43" fmla="*/ 2147483646 h 18"/>
                <a:gd name="T44" fmla="*/ 2147483646 w 24"/>
                <a:gd name="T45" fmla="*/ 2147483646 h 18"/>
                <a:gd name="T46" fmla="*/ 2147483646 w 24"/>
                <a:gd name="T47" fmla="*/ 2147483646 h 18"/>
                <a:gd name="T48" fmla="*/ 2147483646 w 24"/>
                <a:gd name="T49" fmla="*/ 2147483646 h 18"/>
                <a:gd name="T50" fmla="*/ 2147483646 w 24"/>
                <a:gd name="T51" fmla="*/ 2147483646 h 1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18">
                  <a:moveTo>
                    <a:pt x="9" y="1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9" y="18"/>
                    <a:pt x="20" y="18"/>
                  </a:cubicBez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4" y="16"/>
                    <a:pt x="24" y="16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1"/>
                    <a:pt x="20" y="1"/>
                  </a:cubicBezTo>
                  <a:cubicBezTo>
                    <a:pt x="20" y="1"/>
                    <a:pt x="16" y="2"/>
                    <a:pt x="16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8" y="12"/>
                    <a:pt x="8" y="12"/>
                    <a:pt x="8" y="12"/>
                  </a:cubicBezTo>
                  <a:lnTo>
                    <a:pt x="9" y="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2" name="Freeform 304"/>
            <p:cNvSpPr>
              <a:spLocks/>
            </p:cNvSpPr>
            <p:nvPr/>
          </p:nvSpPr>
          <p:spPr bwMode="auto">
            <a:xfrm>
              <a:off x="4159075" y="4063696"/>
              <a:ext cx="135937" cy="105408"/>
            </a:xfrm>
            <a:custGeom>
              <a:avLst/>
              <a:gdLst>
                <a:gd name="T0" fmla="*/ 2147483646 w 114"/>
                <a:gd name="T1" fmla="*/ 2147483646 h 85"/>
                <a:gd name="T2" fmla="*/ 2147483646 w 114"/>
                <a:gd name="T3" fmla="*/ 2147483646 h 85"/>
                <a:gd name="T4" fmla="*/ 2147483646 w 114"/>
                <a:gd name="T5" fmla="*/ 2147483646 h 85"/>
                <a:gd name="T6" fmla="*/ 2147483646 w 114"/>
                <a:gd name="T7" fmla="*/ 2147483646 h 85"/>
                <a:gd name="T8" fmla="*/ 2147483646 w 114"/>
                <a:gd name="T9" fmla="*/ 2147483646 h 85"/>
                <a:gd name="T10" fmla="*/ 2147483646 w 114"/>
                <a:gd name="T11" fmla="*/ 2147483646 h 85"/>
                <a:gd name="T12" fmla="*/ 2147483646 w 114"/>
                <a:gd name="T13" fmla="*/ 2147483646 h 85"/>
                <a:gd name="T14" fmla="*/ 2147483646 w 114"/>
                <a:gd name="T15" fmla="*/ 2147483646 h 85"/>
                <a:gd name="T16" fmla="*/ 2147483646 w 114"/>
                <a:gd name="T17" fmla="*/ 2147483646 h 85"/>
                <a:gd name="T18" fmla="*/ 2147483646 w 114"/>
                <a:gd name="T19" fmla="*/ 2147483646 h 85"/>
                <a:gd name="T20" fmla="*/ 2147483646 w 114"/>
                <a:gd name="T21" fmla="*/ 2147483646 h 85"/>
                <a:gd name="T22" fmla="*/ 2147483646 w 114"/>
                <a:gd name="T23" fmla="*/ 0 h 85"/>
                <a:gd name="T24" fmla="*/ 2147483646 w 114"/>
                <a:gd name="T25" fmla="*/ 2147483646 h 85"/>
                <a:gd name="T26" fmla="*/ 2147483646 w 114"/>
                <a:gd name="T27" fmla="*/ 2147483646 h 85"/>
                <a:gd name="T28" fmla="*/ 0 w 114"/>
                <a:gd name="T29" fmla="*/ 2147483646 h 85"/>
                <a:gd name="T30" fmla="*/ 2147483646 w 114"/>
                <a:gd name="T31" fmla="*/ 2147483646 h 85"/>
                <a:gd name="T32" fmla="*/ 2147483646 w 114"/>
                <a:gd name="T33" fmla="*/ 2147483646 h 85"/>
                <a:gd name="T34" fmla="*/ 2147483646 w 114"/>
                <a:gd name="T35" fmla="*/ 2147483646 h 85"/>
                <a:gd name="T36" fmla="*/ 2147483646 w 114"/>
                <a:gd name="T37" fmla="*/ 2147483646 h 8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5">
                  <a:moveTo>
                    <a:pt x="54" y="79"/>
                  </a:moveTo>
                  <a:lnTo>
                    <a:pt x="66" y="79"/>
                  </a:lnTo>
                  <a:lnTo>
                    <a:pt x="78" y="79"/>
                  </a:lnTo>
                  <a:lnTo>
                    <a:pt x="108" y="85"/>
                  </a:lnTo>
                  <a:lnTo>
                    <a:pt x="114" y="85"/>
                  </a:lnTo>
                  <a:lnTo>
                    <a:pt x="102" y="61"/>
                  </a:lnTo>
                  <a:lnTo>
                    <a:pt x="96" y="43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18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12" y="6"/>
                  </a:lnTo>
                  <a:lnTo>
                    <a:pt x="0" y="43"/>
                  </a:lnTo>
                  <a:lnTo>
                    <a:pt x="12" y="85"/>
                  </a:lnTo>
                  <a:lnTo>
                    <a:pt x="18" y="85"/>
                  </a:lnTo>
                  <a:lnTo>
                    <a:pt x="24" y="85"/>
                  </a:lnTo>
                  <a:lnTo>
                    <a:pt x="54" y="7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3" name="Freeform 305"/>
            <p:cNvSpPr>
              <a:spLocks/>
            </p:cNvSpPr>
            <p:nvPr/>
          </p:nvSpPr>
          <p:spPr bwMode="auto">
            <a:xfrm>
              <a:off x="4166384" y="3806201"/>
              <a:ext cx="274797" cy="302670"/>
            </a:xfrm>
            <a:custGeom>
              <a:avLst/>
              <a:gdLst>
                <a:gd name="T0" fmla="*/ 2147483646 w 38"/>
                <a:gd name="T1" fmla="*/ 2147483646 h 41"/>
                <a:gd name="T2" fmla="*/ 2147483646 w 38"/>
                <a:gd name="T3" fmla="*/ 2147483646 h 41"/>
                <a:gd name="T4" fmla="*/ 2147483646 w 38"/>
                <a:gd name="T5" fmla="*/ 2147483646 h 41"/>
                <a:gd name="T6" fmla="*/ 2147483646 w 38"/>
                <a:gd name="T7" fmla="*/ 2147483646 h 41"/>
                <a:gd name="T8" fmla="*/ 2147483646 w 38"/>
                <a:gd name="T9" fmla="*/ 2147483646 h 41"/>
                <a:gd name="T10" fmla="*/ 2147483646 w 38"/>
                <a:gd name="T11" fmla="*/ 2147483646 h 41"/>
                <a:gd name="T12" fmla="*/ 2147483646 w 38"/>
                <a:gd name="T13" fmla="*/ 2147483646 h 41"/>
                <a:gd name="T14" fmla="*/ 2147483646 w 38"/>
                <a:gd name="T15" fmla="*/ 2147483646 h 41"/>
                <a:gd name="T16" fmla="*/ 2147483646 w 38"/>
                <a:gd name="T17" fmla="*/ 2147483646 h 41"/>
                <a:gd name="T18" fmla="*/ 2147483646 w 38"/>
                <a:gd name="T19" fmla="*/ 2147483646 h 41"/>
                <a:gd name="T20" fmla="*/ 2147483646 w 38"/>
                <a:gd name="T21" fmla="*/ 2147483646 h 41"/>
                <a:gd name="T22" fmla="*/ 2147483646 w 38"/>
                <a:gd name="T23" fmla="*/ 2147483646 h 41"/>
                <a:gd name="T24" fmla="*/ 2147483646 w 38"/>
                <a:gd name="T25" fmla="*/ 2147483646 h 41"/>
                <a:gd name="T26" fmla="*/ 2147483646 w 38"/>
                <a:gd name="T27" fmla="*/ 0 h 41"/>
                <a:gd name="T28" fmla="*/ 2147483646 w 38"/>
                <a:gd name="T29" fmla="*/ 2147483646 h 41"/>
                <a:gd name="T30" fmla="*/ 2147483646 w 38"/>
                <a:gd name="T31" fmla="*/ 2147483646 h 41"/>
                <a:gd name="T32" fmla="*/ 2147483646 w 38"/>
                <a:gd name="T33" fmla="*/ 2147483646 h 41"/>
                <a:gd name="T34" fmla="*/ 2147483646 w 38"/>
                <a:gd name="T35" fmla="*/ 2147483646 h 41"/>
                <a:gd name="T36" fmla="*/ 2147483646 w 38"/>
                <a:gd name="T37" fmla="*/ 2147483646 h 41"/>
                <a:gd name="T38" fmla="*/ 2147483646 w 38"/>
                <a:gd name="T39" fmla="*/ 2147483646 h 41"/>
                <a:gd name="T40" fmla="*/ 0 w 38"/>
                <a:gd name="T41" fmla="*/ 2147483646 h 41"/>
                <a:gd name="T42" fmla="*/ 2147483646 w 38"/>
                <a:gd name="T43" fmla="*/ 2147483646 h 41"/>
                <a:gd name="T44" fmla="*/ 2147483646 w 38"/>
                <a:gd name="T45" fmla="*/ 2147483646 h 41"/>
                <a:gd name="T46" fmla="*/ 2147483646 w 38"/>
                <a:gd name="T47" fmla="*/ 2147483646 h 41"/>
                <a:gd name="T48" fmla="*/ 2147483646 w 38"/>
                <a:gd name="T49" fmla="*/ 2147483646 h 41"/>
                <a:gd name="T50" fmla="*/ 2147483646 w 38"/>
                <a:gd name="T51" fmla="*/ 2147483646 h 4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8" h="41">
                  <a:moveTo>
                    <a:pt x="6" y="35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20"/>
                    <a:pt x="13" y="20"/>
                  </a:cubicBezTo>
                  <a:cubicBezTo>
                    <a:pt x="13" y="20"/>
                    <a:pt x="5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4" y="36"/>
                    <a:pt x="4" y="36"/>
                    <a:pt x="4" y="36"/>
                  </a:cubicBezTo>
                  <a:lnTo>
                    <a:pt x="6" y="3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4" name="Freeform 306"/>
            <p:cNvSpPr>
              <a:spLocks/>
            </p:cNvSpPr>
            <p:nvPr/>
          </p:nvSpPr>
          <p:spPr bwMode="auto">
            <a:xfrm>
              <a:off x="5112096" y="3679712"/>
              <a:ext cx="260180" cy="259001"/>
            </a:xfrm>
            <a:custGeom>
              <a:avLst/>
              <a:gdLst>
                <a:gd name="T0" fmla="*/ 0 w 36"/>
                <a:gd name="T1" fmla="*/ 2147483646 h 35"/>
                <a:gd name="T2" fmla="*/ 2147483646 w 36"/>
                <a:gd name="T3" fmla="*/ 2147483646 h 35"/>
                <a:gd name="T4" fmla="*/ 2147483646 w 36"/>
                <a:gd name="T5" fmla="*/ 2147483646 h 35"/>
                <a:gd name="T6" fmla="*/ 2147483646 w 36"/>
                <a:gd name="T7" fmla="*/ 2147483646 h 35"/>
                <a:gd name="T8" fmla="*/ 2147483646 w 36"/>
                <a:gd name="T9" fmla="*/ 2147483646 h 35"/>
                <a:gd name="T10" fmla="*/ 2147483646 w 36"/>
                <a:gd name="T11" fmla="*/ 2147483646 h 35"/>
                <a:gd name="T12" fmla="*/ 2147483646 w 36"/>
                <a:gd name="T13" fmla="*/ 2147483646 h 35"/>
                <a:gd name="T14" fmla="*/ 2147483646 w 36"/>
                <a:gd name="T15" fmla="*/ 2147483646 h 35"/>
                <a:gd name="T16" fmla="*/ 2147483646 w 36"/>
                <a:gd name="T17" fmla="*/ 2147483646 h 35"/>
                <a:gd name="T18" fmla="*/ 2147483646 w 36"/>
                <a:gd name="T19" fmla="*/ 2147483646 h 35"/>
                <a:gd name="T20" fmla="*/ 2147483646 w 36"/>
                <a:gd name="T21" fmla="*/ 2147483646 h 35"/>
                <a:gd name="T22" fmla="*/ 2147483646 w 36"/>
                <a:gd name="T23" fmla="*/ 2147483646 h 35"/>
                <a:gd name="T24" fmla="*/ 2147483646 w 36"/>
                <a:gd name="T25" fmla="*/ 2147483646 h 35"/>
                <a:gd name="T26" fmla="*/ 2147483646 w 36"/>
                <a:gd name="T27" fmla="*/ 2147483646 h 35"/>
                <a:gd name="T28" fmla="*/ 2147483646 w 36"/>
                <a:gd name="T29" fmla="*/ 2147483646 h 35"/>
                <a:gd name="T30" fmla="*/ 2147483646 w 36"/>
                <a:gd name="T31" fmla="*/ 2147483646 h 35"/>
                <a:gd name="T32" fmla="*/ 2147483646 w 36"/>
                <a:gd name="T33" fmla="*/ 2147483646 h 35"/>
                <a:gd name="T34" fmla="*/ 2147483646 w 36"/>
                <a:gd name="T35" fmla="*/ 2147483646 h 35"/>
                <a:gd name="T36" fmla="*/ 2147483646 w 36"/>
                <a:gd name="T37" fmla="*/ 2147483646 h 35"/>
                <a:gd name="T38" fmla="*/ 2147483646 w 36"/>
                <a:gd name="T39" fmla="*/ 2147483646 h 35"/>
                <a:gd name="T40" fmla="*/ 2147483646 w 36"/>
                <a:gd name="T41" fmla="*/ 0 h 35"/>
                <a:gd name="T42" fmla="*/ 2147483646 w 36"/>
                <a:gd name="T43" fmla="*/ 0 h 35"/>
                <a:gd name="T44" fmla="*/ 2147483646 w 36"/>
                <a:gd name="T45" fmla="*/ 2147483646 h 35"/>
                <a:gd name="T46" fmla="*/ 0 w 36"/>
                <a:gd name="T47" fmla="*/ 2147483646 h 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6" h="35">
                  <a:moveTo>
                    <a:pt x="0" y="5"/>
                  </a:moveTo>
                  <a:cubicBezTo>
                    <a:pt x="0" y="5"/>
                    <a:pt x="1" y="7"/>
                    <a:pt x="1" y="8"/>
                  </a:cubicBezTo>
                  <a:cubicBezTo>
                    <a:pt x="1" y="8"/>
                    <a:pt x="2" y="10"/>
                    <a:pt x="2" y="10"/>
                  </a:cubicBezTo>
                  <a:cubicBezTo>
                    <a:pt x="2" y="10"/>
                    <a:pt x="1" y="35"/>
                    <a:pt x="2" y="35"/>
                  </a:cubicBezTo>
                  <a:cubicBezTo>
                    <a:pt x="2" y="35"/>
                    <a:pt x="2" y="35"/>
                    <a:pt x="3" y="35"/>
                  </a:cubicBezTo>
                  <a:cubicBezTo>
                    <a:pt x="7" y="35"/>
                    <a:pt x="29" y="35"/>
                    <a:pt x="29" y="35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5" name="Freeform 307"/>
            <p:cNvSpPr>
              <a:spLocks/>
            </p:cNvSpPr>
            <p:nvPr/>
          </p:nvSpPr>
          <p:spPr bwMode="auto">
            <a:xfrm>
              <a:off x="4756906" y="3634538"/>
              <a:ext cx="377115" cy="368926"/>
            </a:xfrm>
            <a:custGeom>
              <a:avLst/>
              <a:gdLst>
                <a:gd name="T0" fmla="*/ 2147483646 w 52"/>
                <a:gd name="T1" fmla="*/ 2147483646 h 50"/>
                <a:gd name="T2" fmla="*/ 2147483646 w 52"/>
                <a:gd name="T3" fmla="*/ 2147483646 h 50"/>
                <a:gd name="T4" fmla="*/ 2147483646 w 52"/>
                <a:gd name="T5" fmla="*/ 2147483646 h 50"/>
                <a:gd name="T6" fmla="*/ 0 w 52"/>
                <a:gd name="T7" fmla="*/ 2147483646 h 50"/>
                <a:gd name="T8" fmla="*/ 0 w 52"/>
                <a:gd name="T9" fmla="*/ 2147483646 h 50"/>
                <a:gd name="T10" fmla="*/ 2147483646 w 52"/>
                <a:gd name="T11" fmla="*/ 2147483646 h 50"/>
                <a:gd name="T12" fmla="*/ 2147483646 w 52"/>
                <a:gd name="T13" fmla="*/ 2147483646 h 50"/>
                <a:gd name="T14" fmla="*/ 2147483646 w 52"/>
                <a:gd name="T15" fmla="*/ 2147483646 h 50"/>
                <a:gd name="T16" fmla="*/ 2147483646 w 52"/>
                <a:gd name="T17" fmla="*/ 2147483646 h 50"/>
                <a:gd name="T18" fmla="*/ 2147483646 w 52"/>
                <a:gd name="T19" fmla="*/ 2147483646 h 50"/>
                <a:gd name="T20" fmla="*/ 2147483646 w 52"/>
                <a:gd name="T21" fmla="*/ 2147483646 h 50"/>
                <a:gd name="T22" fmla="*/ 2147483646 w 52"/>
                <a:gd name="T23" fmla="*/ 2147483646 h 50"/>
                <a:gd name="T24" fmla="*/ 2147483646 w 52"/>
                <a:gd name="T25" fmla="*/ 2147483646 h 50"/>
                <a:gd name="T26" fmla="*/ 2147483646 w 52"/>
                <a:gd name="T27" fmla="*/ 2147483646 h 50"/>
                <a:gd name="T28" fmla="*/ 2147483646 w 52"/>
                <a:gd name="T29" fmla="*/ 2147483646 h 50"/>
                <a:gd name="T30" fmla="*/ 2147483646 w 52"/>
                <a:gd name="T31" fmla="*/ 2147483646 h 50"/>
                <a:gd name="T32" fmla="*/ 2147483646 w 52"/>
                <a:gd name="T33" fmla="*/ 2147483646 h 50"/>
                <a:gd name="T34" fmla="*/ 2147483646 w 52"/>
                <a:gd name="T35" fmla="*/ 2147483646 h 50"/>
                <a:gd name="T36" fmla="*/ 2147483646 w 52"/>
                <a:gd name="T37" fmla="*/ 2147483646 h 50"/>
                <a:gd name="T38" fmla="*/ 2147483646 w 52"/>
                <a:gd name="T39" fmla="*/ 2147483646 h 50"/>
                <a:gd name="T40" fmla="*/ 2147483646 w 52"/>
                <a:gd name="T41" fmla="*/ 2147483646 h 50"/>
                <a:gd name="T42" fmla="*/ 2147483646 w 52"/>
                <a:gd name="T43" fmla="*/ 2147483646 h 50"/>
                <a:gd name="T44" fmla="*/ 2147483646 w 52"/>
                <a:gd name="T45" fmla="*/ 2147483646 h 50"/>
                <a:gd name="T46" fmla="*/ 2147483646 w 52"/>
                <a:gd name="T47" fmla="*/ 2147483646 h 50"/>
                <a:gd name="T48" fmla="*/ 2147483646 w 52"/>
                <a:gd name="T49" fmla="*/ 2147483646 h 50"/>
                <a:gd name="T50" fmla="*/ 2147483646 w 52"/>
                <a:gd name="T51" fmla="*/ 2147483646 h 50"/>
                <a:gd name="T52" fmla="*/ 2147483646 w 52"/>
                <a:gd name="T53" fmla="*/ 2147483646 h 50"/>
                <a:gd name="T54" fmla="*/ 2147483646 w 52"/>
                <a:gd name="T55" fmla="*/ 2147483646 h 50"/>
                <a:gd name="T56" fmla="*/ 2147483646 w 52"/>
                <a:gd name="T57" fmla="*/ 2147483646 h 50"/>
                <a:gd name="T58" fmla="*/ 2147483646 w 52"/>
                <a:gd name="T59" fmla="*/ 2147483646 h 50"/>
                <a:gd name="T60" fmla="*/ 2147483646 w 52"/>
                <a:gd name="T61" fmla="*/ 2147483646 h 50"/>
                <a:gd name="T62" fmla="*/ 2147483646 w 52"/>
                <a:gd name="T63" fmla="*/ 2147483646 h 50"/>
                <a:gd name="T64" fmla="*/ 2147483646 w 52"/>
                <a:gd name="T65" fmla="*/ 2147483646 h 50"/>
                <a:gd name="T66" fmla="*/ 2147483646 w 52"/>
                <a:gd name="T67" fmla="*/ 0 h 50"/>
                <a:gd name="T68" fmla="*/ 2147483646 w 52"/>
                <a:gd name="T69" fmla="*/ 2147483646 h 50"/>
                <a:gd name="T70" fmla="*/ 2147483646 w 52"/>
                <a:gd name="T71" fmla="*/ 2147483646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2" h="50">
                  <a:moveTo>
                    <a:pt x="4" y="6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0" y="41"/>
                    <a:pt x="51" y="16"/>
                    <a:pt x="51" y="16"/>
                  </a:cubicBezTo>
                  <a:cubicBezTo>
                    <a:pt x="51" y="16"/>
                    <a:pt x="50" y="14"/>
                    <a:pt x="50" y="14"/>
                  </a:cubicBezTo>
                  <a:cubicBezTo>
                    <a:pt x="50" y="13"/>
                    <a:pt x="49" y="11"/>
                    <a:pt x="49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6" name="Freeform 308"/>
            <p:cNvSpPr>
              <a:spLocks/>
            </p:cNvSpPr>
            <p:nvPr/>
          </p:nvSpPr>
          <p:spPr bwMode="auto">
            <a:xfrm>
              <a:off x="4720363" y="3524612"/>
              <a:ext cx="95010" cy="183710"/>
            </a:xfrm>
            <a:custGeom>
              <a:avLst/>
              <a:gdLst>
                <a:gd name="T0" fmla="*/ 2147483646 w 78"/>
                <a:gd name="T1" fmla="*/ 2147483646 h 150"/>
                <a:gd name="T2" fmla="*/ 2147483646 w 78"/>
                <a:gd name="T3" fmla="*/ 2147483646 h 150"/>
                <a:gd name="T4" fmla="*/ 2147483646 w 78"/>
                <a:gd name="T5" fmla="*/ 2147483646 h 150"/>
                <a:gd name="T6" fmla="*/ 0 w 78"/>
                <a:gd name="T7" fmla="*/ 2147483646 h 150"/>
                <a:gd name="T8" fmla="*/ 0 w 78"/>
                <a:gd name="T9" fmla="*/ 2147483646 h 150"/>
                <a:gd name="T10" fmla="*/ 2147483646 w 78"/>
                <a:gd name="T11" fmla="*/ 2147483646 h 150"/>
                <a:gd name="T12" fmla="*/ 2147483646 w 78"/>
                <a:gd name="T13" fmla="*/ 2147483646 h 150"/>
                <a:gd name="T14" fmla="*/ 2147483646 w 78"/>
                <a:gd name="T15" fmla="*/ 2147483646 h 150"/>
                <a:gd name="T16" fmla="*/ 2147483646 w 78"/>
                <a:gd name="T17" fmla="*/ 2147483646 h 150"/>
                <a:gd name="T18" fmla="*/ 2147483646 w 78"/>
                <a:gd name="T19" fmla="*/ 2147483646 h 150"/>
                <a:gd name="T20" fmla="*/ 2147483646 w 78"/>
                <a:gd name="T21" fmla="*/ 2147483646 h 150"/>
                <a:gd name="T22" fmla="*/ 2147483646 w 78"/>
                <a:gd name="T23" fmla="*/ 2147483646 h 150"/>
                <a:gd name="T24" fmla="*/ 2147483646 w 78"/>
                <a:gd name="T25" fmla="*/ 2147483646 h 150"/>
                <a:gd name="T26" fmla="*/ 2147483646 w 78"/>
                <a:gd name="T27" fmla="*/ 2147483646 h 150"/>
                <a:gd name="T28" fmla="*/ 2147483646 w 78"/>
                <a:gd name="T29" fmla="*/ 2147483646 h 150"/>
                <a:gd name="T30" fmla="*/ 2147483646 w 78"/>
                <a:gd name="T31" fmla="*/ 2147483646 h 150"/>
                <a:gd name="T32" fmla="*/ 2147483646 w 78"/>
                <a:gd name="T33" fmla="*/ 2147483646 h 150"/>
                <a:gd name="T34" fmla="*/ 2147483646 w 78"/>
                <a:gd name="T35" fmla="*/ 2147483646 h 150"/>
                <a:gd name="T36" fmla="*/ 2147483646 w 78"/>
                <a:gd name="T37" fmla="*/ 0 h 150"/>
                <a:gd name="T38" fmla="*/ 2147483646 w 78"/>
                <a:gd name="T39" fmla="*/ 0 h 150"/>
                <a:gd name="T40" fmla="*/ 2147483646 w 78"/>
                <a:gd name="T41" fmla="*/ 2147483646 h 150"/>
                <a:gd name="T42" fmla="*/ 2147483646 w 78"/>
                <a:gd name="T43" fmla="*/ 2147483646 h 1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78" h="150">
                  <a:moveTo>
                    <a:pt x="18" y="12"/>
                  </a:moveTo>
                  <a:lnTo>
                    <a:pt x="18" y="30"/>
                  </a:lnTo>
                  <a:lnTo>
                    <a:pt x="18" y="54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36" y="120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44"/>
                  </a:lnTo>
                  <a:lnTo>
                    <a:pt x="54" y="126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60" y="84"/>
                  </a:lnTo>
                  <a:lnTo>
                    <a:pt x="42" y="72"/>
                  </a:lnTo>
                  <a:lnTo>
                    <a:pt x="66" y="36"/>
                  </a:lnTo>
                  <a:lnTo>
                    <a:pt x="60" y="12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7" name="Freeform 309"/>
            <p:cNvSpPr>
              <a:spLocks/>
            </p:cNvSpPr>
            <p:nvPr/>
          </p:nvSpPr>
          <p:spPr bwMode="auto">
            <a:xfrm>
              <a:off x="4254086" y="3568281"/>
              <a:ext cx="273335" cy="215332"/>
            </a:xfrm>
            <a:custGeom>
              <a:avLst/>
              <a:gdLst>
                <a:gd name="T0" fmla="*/ 2147483646 w 228"/>
                <a:gd name="T1" fmla="*/ 2147483646 h 174"/>
                <a:gd name="T2" fmla="*/ 2147483646 w 228"/>
                <a:gd name="T3" fmla="*/ 2147483646 h 174"/>
                <a:gd name="T4" fmla="*/ 2147483646 w 228"/>
                <a:gd name="T5" fmla="*/ 2147483646 h 174"/>
                <a:gd name="T6" fmla="*/ 2147483646 w 228"/>
                <a:gd name="T7" fmla="*/ 2147483646 h 174"/>
                <a:gd name="T8" fmla="*/ 2147483646 w 228"/>
                <a:gd name="T9" fmla="*/ 2147483646 h 174"/>
                <a:gd name="T10" fmla="*/ 2147483646 w 228"/>
                <a:gd name="T11" fmla="*/ 2147483646 h 174"/>
                <a:gd name="T12" fmla="*/ 2147483646 w 228"/>
                <a:gd name="T13" fmla="*/ 2147483646 h 174"/>
                <a:gd name="T14" fmla="*/ 2147483646 w 228"/>
                <a:gd name="T15" fmla="*/ 2147483646 h 174"/>
                <a:gd name="T16" fmla="*/ 2147483646 w 228"/>
                <a:gd name="T17" fmla="*/ 2147483646 h 174"/>
                <a:gd name="T18" fmla="*/ 2147483646 w 228"/>
                <a:gd name="T19" fmla="*/ 2147483646 h 174"/>
                <a:gd name="T20" fmla="*/ 2147483646 w 228"/>
                <a:gd name="T21" fmla="*/ 2147483646 h 174"/>
                <a:gd name="T22" fmla="*/ 2147483646 w 228"/>
                <a:gd name="T23" fmla="*/ 2147483646 h 174"/>
                <a:gd name="T24" fmla="*/ 2147483646 w 228"/>
                <a:gd name="T25" fmla="*/ 2147483646 h 174"/>
                <a:gd name="T26" fmla="*/ 2147483646 w 228"/>
                <a:gd name="T27" fmla="*/ 0 h 174"/>
                <a:gd name="T28" fmla="*/ 2147483646 w 228"/>
                <a:gd name="T29" fmla="*/ 2147483646 h 174"/>
                <a:gd name="T30" fmla="*/ 2147483646 w 228"/>
                <a:gd name="T31" fmla="*/ 2147483646 h 174"/>
                <a:gd name="T32" fmla="*/ 2147483646 w 228"/>
                <a:gd name="T33" fmla="*/ 2147483646 h 174"/>
                <a:gd name="T34" fmla="*/ 2147483646 w 228"/>
                <a:gd name="T35" fmla="*/ 2147483646 h 174"/>
                <a:gd name="T36" fmla="*/ 2147483646 w 228"/>
                <a:gd name="T37" fmla="*/ 2147483646 h 174"/>
                <a:gd name="T38" fmla="*/ 0 w 228"/>
                <a:gd name="T39" fmla="*/ 2147483646 h 174"/>
                <a:gd name="T40" fmla="*/ 2147483646 w 228"/>
                <a:gd name="T41" fmla="*/ 2147483646 h 174"/>
                <a:gd name="T42" fmla="*/ 2147483646 w 228"/>
                <a:gd name="T43" fmla="*/ 2147483646 h 1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28" h="174">
                  <a:moveTo>
                    <a:pt x="90" y="156"/>
                  </a:moveTo>
                  <a:lnTo>
                    <a:pt x="114" y="138"/>
                  </a:lnTo>
                  <a:lnTo>
                    <a:pt x="144" y="120"/>
                  </a:lnTo>
                  <a:lnTo>
                    <a:pt x="180" y="108"/>
                  </a:lnTo>
                  <a:lnTo>
                    <a:pt x="186" y="96"/>
                  </a:lnTo>
                  <a:lnTo>
                    <a:pt x="192" y="84"/>
                  </a:lnTo>
                  <a:lnTo>
                    <a:pt x="216" y="78"/>
                  </a:lnTo>
                  <a:lnTo>
                    <a:pt x="228" y="72"/>
                  </a:lnTo>
                  <a:lnTo>
                    <a:pt x="222" y="42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8" y="12"/>
                  </a:lnTo>
                  <a:lnTo>
                    <a:pt x="144" y="0"/>
                  </a:lnTo>
                  <a:lnTo>
                    <a:pt x="120" y="36"/>
                  </a:lnTo>
                  <a:lnTo>
                    <a:pt x="96" y="60"/>
                  </a:lnTo>
                  <a:lnTo>
                    <a:pt x="72" y="90"/>
                  </a:lnTo>
                  <a:lnTo>
                    <a:pt x="66" y="138"/>
                  </a:lnTo>
                  <a:lnTo>
                    <a:pt x="12" y="162"/>
                  </a:lnTo>
                  <a:lnTo>
                    <a:pt x="0" y="174"/>
                  </a:lnTo>
                  <a:lnTo>
                    <a:pt x="84" y="174"/>
                  </a:lnTo>
                  <a:lnTo>
                    <a:pt x="90" y="15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8" name="Freeform 310"/>
            <p:cNvSpPr>
              <a:spLocks/>
            </p:cNvSpPr>
            <p:nvPr/>
          </p:nvSpPr>
          <p:spPr bwMode="auto">
            <a:xfrm>
              <a:off x="4172231" y="3783613"/>
              <a:ext cx="188557" cy="168652"/>
            </a:xfrm>
            <a:custGeom>
              <a:avLst/>
              <a:gdLst>
                <a:gd name="T0" fmla="*/ 2147483646 w 26"/>
                <a:gd name="T1" fmla="*/ 2147483646 h 23"/>
                <a:gd name="T2" fmla="*/ 2147483646 w 26"/>
                <a:gd name="T3" fmla="*/ 2147483646 h 23"/>
                <a:gd name="T4" fmla="*/ 2147483646 w 26"/>
                <a:gd name="T5" fmla="*/ 2147483646 h 23"/>
                <a:gd name="T6" fmla="*/ 2147483646 w 26"/>
                <a:gd name="T7" fmla="*/ 2147483646 h 23"/>
                <a:gd name="T8" fmla="*/ 2147483646 w 26"/>
                <a:gd name="T9" fmla="*/ 2147483646 h 23"/>
                <a:gd name="T10" fmla="*/ 2147483646 w 26"/>
                <a:gd name="T11" fmla="*/ 2147483646 h 23"/>
                <a:gd name="T12" fmla="*/ 2147483646 w 26"/>
                <a:gd name="T13" fmla="*/ 0 h 23"/>
                <a:gd name="T14" fmla="*/ 2147483646 w 26"/>
                <a:gd name="T15" fmla="*/ 0 h 23"/>
                <a:gd name="T16" fmla="*/ 2147483646 w 26"/>
                <a:gd name="T17" fmla="*/ 2147483646 h 23"/>
                <a:gd name="T18" fmla="*/ 2147483646 w 26"/>
                <a:gd name="T19" fmla="*/ 2147483646 h 23"/>
                <a:gd name="T20" fmla="*/ 0 w 26"/>
                <a:gd name="T21" fmla="*/ 2147483646 h 23"/>
                <a:gd name="T22" fmla="*/ 2147483646 w 26"/>
                <a:gd name="T23" fmla="*/ 2147483646 h 23"/>
                <a:gd name="T24" fmla="*/ 2147483646 w 26"/>
                <a:gd name="T25" fmla="*/ 2147483646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23">
                  <a:moveTo>
                    <a:pt x="13" y="16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2"/>
                    <a:pt x="12" y="23"/>
                    <a:pt x="12" y="23"/>
                  </a:cubicBezTo>
                  <a:cubicBezTo>
                    <a:pt x="13" y="23"/>
                    <a:pt x="13" y="16"/>
                    <a:pt x="13" y="1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9" name="Freeform 311"/>
            <p:cNvSpPr>
              <a:spLocks/>
            </p:cNvSpPr>
            <p:nvPr/>
          </p:nvSpPr>
          <p:spPr bwMode="auto">
            <a:xfrm>
              <a:off x="4181001" y="4160069"/>
              <a:ext cx="57005" cy="45175"/>
            </a:xfrm>
            <a:custGeom>
              <a:avLst/>
              <a:gdLst>
                <a:gd name="T0" fmla="*/ 2147483646 w 48"/>
                <a:gd name="T1" fmla="*/ 2147483646 h 36"/>
                <a:gd name="T2" fmla="*/ 2147483646 w 48"/>
                <a:gd name="T3" fmla="*/ 2147483646 h 36"/>
                <a:gd name="T4" fmla="*/ 2147483646 w 48"/>
                <a:gd name="T5" fmla="*/ 0 h 36"/>
                <a:gd name="T6" fmla="*/ 2147483646 w 48"/>
                <a:gd name="T7" fmla="*/ 0 h 36"/>
                <a:gd name="T8" fmla="*/ 2147483646 w 48"/>
                <a:gd name="T9" fmla="*/ 2147483646 h 36"/>
                <a:gd name="T10" fmla="*/ 0 w 48"/>
                <a:gd name="T11" fmla="*/ 2147483646 h 36"/>
                <a:gd name="T12" fmla="*/ 2147483646 w 48"/>
                <a:gd name="T13" fmla="*/ 2147483646 h 36"/>
                <a:gd name="T14" fmla="*/ 2147483646 w 48"/>
                <a:gd name="T15" fmla="*/ 2147483646 h 36"/>
                <a:gd name="T16" fmla="*/ 2147483646 w 48"/>
                <a:gd name="T17" fmla="*/ 2147483646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36">
                  <a:moveTo>
                    <a:pt x="48" y="24"/>
                  </a:move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8" y="36"/>
                  </a:lnTo>
                  <a:lnTo>
                    <a:pt x="36" y="24"/>
                  </a:lnTo>
                  <a:lnTo>
                    <a:pt x="48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0" name="Freeform 312"/>
            <p:cNvSpPr>
              <a:spLocks/>
            </p:cNvSpPr>
            <p:nvPr/>
          </p:nvSpPr>
          <p:spPr bwMode="auto">
            <a:xfrm>
              <a:off x="5055090" y="3902574"/>
              <a:ext cx="374192" cy="472828"/>
            </a:xfrm>
            <a:custGeom>
              <a:avLst/>
              <a:gdLst>
                <a:gd name="T0" fmla="*/ 2147483646 w 52"/>
                <a:gd name="T1" fmla="*/ 2147483646 h 64"/>
                <a:gd name="T2" fmla="*/ 2147483646 w 52"/>
                <a:gd name="T3" fmla="*/ 2147483646 h 64"/>
                <a:gd name="T4" fmla="*/ 2147483646 w 52"/>
                <a:gd name="T5" fmla="*/ 2147483646 h 64"/>
                <a:gd name="T6" fmla="*/ 2147483646 w 52"/>
                <a:gd name="T7" fmla="*/ 2147483646 h 64"/>
                <a:gd name="T8" fmla="*/ 2147483646 w 52"/>
                <a:gd name="T9" fmla="*/ 2147483646 h 64"/>
                <a:gd name="T10" fmla="*/ 2147483646 w 52"/>
                <a:gd name="T11" fmla="*/ 2147483646 h 64"/>
                <a:gd name="T12" fmla="*/ 2147483646 w 52"/>
                <a:gd name="T13" fmla="*/ 2147483646 h 64"/>
                <a:gd name="T14" fmla="*/ 2147483646 w 52"/>
                <a:gd name="T15" fmla="*/ 2147483646 h 64"/>
                <a:gd name="T16" fmla="*/ 2147483646 w 52"/>
                <a:gd name="T17" fmla="*/ 2147483646 h 64"/>
                <a:gd name="T18" fmla="*/ 0 w 52"/>
                <a:gd name="T19" fmla="*/ 2147483646 h 64"/>
                <a:gd name="T20" fmla="*/ 2147483646 w 52"/>
                <a:gd name="T21" fmla="*/ 2147483646 h 64"/>
                <a:gd name="T22" fmla="*/ 2147483646 w 52"/>
                <a:gd name="T23" fmla="*/ 2147483646 h 64"/>
                <a:gd name="T24" fmla="*/ 2147483646 w 52"/>
                <a:gd name="T25" fmla="*/ 2147483646 h 64"/>
                <a:gd name="T26" fmla="*/ 2147483646 w 52"/>
                <a:gd name="T27" fmla="*/ 2147483646 h 64"/>
                <a:gd name="T28" fmla="*/ 2147483646 w 52"/>
                <a:gd name="T29" fmla="*/ 2147483646 h 64"/>
                <a:gd name="T30" fmla="*/ 2147483646 w 52"/>
                <a:gd name="T31" fmla="*/ 2147483646 h 64"/>
                <a:gd name="T32" fmla="*/ 2147483646 w 52"/>
                <a:gd name="T33" fmla="*/ 2147483646 h 64"/>
                <a:gd name="T34" fmla="*/ 2147483646 w 52"/>
                <a:gd name="T35" fmla="*/ 2147483646 h 64"/>
                <a:gd name="T36" fmla="*/ 2147483646 w 52"/>
                <a:gd name="T37" fmla="*/ 2147483646 h 64"/>
                <a:gd name="T38" fmla="*/ 2147483646 w 52"/>
                <a:gd name="T39" fmla="*/ 2147483646 h 64"/>
                <a:gd name="T40" fmla="*/ 2147483646 w 52"/>
                <a:gd name="T41" fmla="*/ 2147483646 h 64"/>
                <a:gd name="T42" fmla="*/ 2147483646 w 52"/>
                <a:gd name="T43" fmla="*/ 2147483646 h 64"/>
                <a:gd name="T44" fmla="*/ 2147483646 w 52"/>
                <a:gd name="T45" fmla="*/ 2147483646 h 64"/>
                <a:gd name="T46" fmla="*/ 2147483646 w 52"/>
                <a:gd name="T47" fmla="*/ 2147483646 h 64"/>
                <a:gd name="T48" fmla="*/ 2147483646 w 52"/>
                <a:gd name="T49" fmla="*/ 2147483646 h 64"/>
                <a:gd name="T50" fmla="*/ 2147483646 w 52"/>
                <a:gd name="T51" fmla="*/ 2147483646 h 64"/>
                <a:gd name="T52" fmla="*/ 2147483646 w 52"/>
                <a:gd name="T53" fmla="*/ 2147483646 h 64"/>
                <a:gd name="T54" fmla="*/ 2147483646 w 52"/>
                <a:gd name="T55" fmla="*/ 2147483646 h 64"/>
                <a:gd name="T56" fmla="*/ 2147483646 w 52"/>
                <a:gd name="T57" fmla="*/ 2147483646 h 64"/>
                <a:gd name="T58" fmla="*/ 2147483646 w 52"/>
                <a:gd name="T59" fmla="*/ 2147483646 h 64"/>
                <a:gd name="T60" fmla="*/ 2147483646 w 52"/>
                <a:gd name="T61" fmla="*/ 2147483646 h 64"/>
                <a:gd name="T62" fmla="*/ 2147483646 w 52"/>
                <a:gd name="T63" fmla="*/ 2147483646 h 64"/>
                <a:gd name="T64" fmla="*/ 2147483646 w 52"/>
                <a:gd name="T65" fmla="*/ 2147483646 h 64"/>
                <a:gd name="T66" fmla="*/ 2147483646 w 52"/>
                <a:gd name="T67" fmla="*/ 2147483646 h 64"/>
                <a:gd name="T68" fmla="*/ 2147483646 w 52"/>
                <a:gd name="T69" fmla="*/ 2147483646 h 64"/>
                <a:gd name="T70" fmla="*/ 2147483646 w 52"/>
                <a:gd name="T71" fmla="*/ 0 h 64"/>
                <a:gd name="T72" fmla="*/ 2147483646 w 52"/>
                <a:gd name="T73" fmla="*/ 2147483646 h 64"/>
                <a:gd name="T74" fmla="*/ 2147483646 w 52"/>
                <a:gd name="T75" fmla="*/ 2147483646 h 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52" h="64">
                  <a:moveTo>
                    <a:pt x="37" y="5"/>
                  </a:moveTo>
                  <a:cubicBezTo>
                    <a:pt x="37" y="5"/>
                    <a:pt x="15" y="5"/>
                    <a:pt x="11" y="5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2"/>
                    <a:pt x="42" y="2"/>
                    <a:pt x="42" y="2"/>
                  </a:cubicBezTo>
                  <a:lnTo>
                    <a:pt x="37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1" name="Freeform 313"/>
            <p:cNvSpPr>
              <a:spLocks/>
            </p:cNvSpPr>
            <p:nvPr/>
          </p:nvSpPr>
          <p:spPr bwMode="auto">
            <a:xfrm>
              <a:off x="4360788" y="4212773"/>
              <a:ext cx="137399" cy="140041"/>
            </a:xfrm>
            <a:custGeom>
              <a:avLst/>
              <a:gdLst>
                <a:gd name="T0" fmla="*/ 2147483646 w 19"/>
                <a:gd name="T1" fmla="*/ 2147483646 h 19"/>
                <a:gd name="T2" fmla="*/ 2147483646 w 19"/>
                <a:gd name="T3" fmla="*/ 2147483646 h 19"/>
                <a:gd name="T4" fmla="*/ 2147483646 w 19"/>
                <a:gd name="T5" fmla="*/ 2147483646 h 19"/>
                <a:gd name="T6" fmla="*/ 2147483646 w 19"/>
                <a:gd name="T7" fmla="*/ 2147483646 h 19"/>
                <a:gd name="T8" fmla="*/ 2147483646 w 19"/>
                <a:gd name="T9" fmla="*/ 2147483646 h 19"/>
                <a:gd name="T10" fmla="*/ 2147483646 w 19"/>
                <a:gd name="T11" fmla="*/ 2147483646 h 19"/>
                <a:gd name="T12" fmla="*/ 2147483646 w 19"/>
                <a:gd name="T13" fmla="*/ 0 h 19"/>
                <a:gd name="T14" fmla="*/ 2147483646 w 19"/>
                <a:gd name="T15" fmla="*/ 0 h 19"/>
                <a:gd name="T16" fmla="*/ 2147483646 w 19"/>
                <a:gd name="T17" fmla="*/ 0 h 19"/>
                <a:gd name="T18" fmla="*/ 2147483646 w 19"/>
                <a:gd name="T19" fmla="*/ 2147483646 h 19"/>
                <a:gd name="T20" fmla="*/ 2147483646 w 19"/>
                <a:gd name="T21" fmla="*/ 2147483646 h 19"/>
                <a:gd name="T22" fmla="*/ 2147483646 w 19"/>
                <a:gd name="T23" fmla="*/ 2147483646 h 19"/>
                <a:gd name="T24" fmla="*/ 2147483646 w 19"/>
                <a:gd name="T25" fmla="*/ 2147483646 h 19"/>
                <a:gd name="T26" fmla="*/ 0 w 19"/>
                <a:gd name="T27" fmla="*/ 2147483646 h 19"/>
                <a:gd name="T28" fmla="*/ 2147483646 w 19"/>
                <a:gd name="T29" fmla="*/ 2147483646 h 19"/>
                <a:gd name="T30" fmla="*/ 2147483646 w 19"/>
                <a:gd name="T31" fmla="*/ 2147483646 h 19"/>
                <a:gd name="T32" fmla="*/ 2147483646 w 19"/>
                <a:gd name="T33" fmla="*/ 2147483646 h 19"/>
                <a:gd name="T34" fmla="*/ 2147483646 w 19"/>
                <a:gd name="T35" fmla="*/ 2147483646 h 19"/>
                <a:gd name="T36" fmla="*/ 2147483646 w 19"/>
                <a:gd name="T37" fmla="*/ 2147483646 h 19"/>
                <a:gd name="T38" fmla="*/ 2147483646 w 19"/>
                <a:gd name="T39" fmla="*/ 2147483646 h 19"/>
                <a:gd name="T40" fmla="*/ 2147483646 w 19"/>
                <a:gd name="T41" fmla="*/ 2147483646 h 19"/>
                <a:gd name="T42" fmla="*/ 2147483646 w 19"/>
                <a:gd name="T43" fmla="*/ 2147483646 h 19"/>
                <a:gd name="T44" fmla="*/ 2147483646 w 19"/>
                <a:gd name="T45" fmla="*/ 2147483646 h 1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" h="19">
                  <a:moveTo>
                    <a:pt x="17" y="10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4"/>
                    <a:pt x="1" y="14"/>
                  </a:cubicBezTo>
                  <a:cubicBezTo>
                    <a:pt x="1" y="14"/>
                    <a:pt x="4" y="16"/>
                    <a:pt x="4" y="1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3"/>
                    <a:pt x="17" y="13"/>
                    <a:pt x="17" y="13"/>
                  </a:cubicBezTo>
                  <a:lnTo>
                    <a:pt x="17" y="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2" name="Freeform 314"/>
            <p:cNvSpPr>
              <a:spLocks/>
            </p:cNvSpPr>
            <p:nvPr/>
          </p:nvSpPr>
          <p:spPr bwMode="auto">
            <a:xfrm>
              <a:off x="4290627" y="4265477"/>
              <a:ext cx="97934" cy="87338"/>
            </a:xfrm>
            <a:custGeom>
              <a:avLst/>
              <a:gdLst>
                <a:gd name="T0" fmla="*/ 2147483646 w 14"/>
                <a:gd name="T1" fmla="*/ 2147483646 h 12"/>
                <a:gd name="T2" fmla="*/ 2147483646 w 14"/>
                <a:gd name="T3" fmla="*/ 2147483646 h 12"/>
                <a:gd name="T4" fmla="*/ 2147483646 w 14"/>
                <a:gd name="T5" fmla="*/ 2147483646 h 12"/>
                <a:gd name="T6" fmla="*/ 2147483646 w 14"/>
                <a:gd name="T7" fmla="*/ 2147483646 h 12"/>
                <a:gd name="T8" fmla="*/ 2147483646 w 14"/>
                <a:gd name="T9" fmla="*/ 2147483646 h 12"/>
                <a:gd name="T10" fmla="*/ 2147483646 w 14"/>
                <a:gd name="T11" fmla="*/ 0 h 12"/>
                <a:gd name="T12" fmla="*/ 2147483646 w 14"/>
                <a:gd name="T13" fmla="*/ 2147483646 h 12"/>
                <a:gd name="T14" fmla="*/ 2147483646 w 14"/>
                <a:gd name="T15" fmla="*/ 2147483646 h 12"/>
                <a:gd name="T16" fmla="*/ 0 w 14"/>
                <a:gd name="T17" fmla="*/ 2147483646 h 12"/>
                <a:gd name="T18" fmla="*/ 2147483646 w 14"/>
                <a:gd name="T19" fmla="*/ 2147483646 h 12"/>
                <a:gd name="T20" fmla="*/ 2147483646 w 14"/>
                <a:gd name="T21" fmla="*/ 2147483646 h 12"/>
                <a:gd name="T22" fmla="*/ 2147483646 w 14"/>
                <a:gd name="T23" fmla="*/ 2147483646 h 12"/>
                <a:gd name="T24" fmla="*/ 2147483646 w 14"/>
                <a:gd name="T25" fmla="*/ 2147483646 h 12"/>
                <a:gd name="T26" fmla="*/ 2147483646 w 14"/>
                <a:gd name="T27" fmla="*/ 2147483646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4" h="12">
                  <a:moveTo>
                    <a:pt x="11" y="7"/>
                  </a:moveTo>
                  <a:cubicBezTo>
                    <a:pt x="10" y="7"/>
                    <a:pt x="11" y="4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8" y="4"/>
                    <a:pt x="8" y="4"/>
                  </a:cubicBezTo>
                  <a:cubicBezTo>
                    <a:pt x="7" y="4"/>
                    <a:pt x="6" y="1"/>
                    <a:pt x="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1" y="7"/>
                    <a:pt x="11" y="7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3" name="Freeform 315"/>
            <p:cNvSpPr>
              <a:spLocks/>
            </p:cNvSpPr>
            <p:nvPr/>
          </p:nvSpPr>
          <p:spPr bwMode="auto">
            <a:xfrm>
              <a:off x="4245315" y="4235360"/>
              <a:ext cx="73084" cy="66256"/>
            </a:xfrm>
            <a:custGeom>
              <a:avLst/>
              <a:gdLst>
                <a:gd name="T0" fmla="*/ 2147483646 w 60"/>
                <a:gd name="T1" fmla="*/ 2147483646 h 54"/>
                <a:gd name="T2" fmla="*/ 2147483646 w 60"/>
                <a:gd name="T3" fmla="*/ 2147483646 h 54"/>
                <a:gd name="T4" fmla="*/ 2147483646 w 60"/>
                <a:gd name="T5" fmla="*/ 2147483646 h 54"/>
                <a:gd name="T6" fmla="*/ 2147483646 w 60"/>
                <a:gd name="T7" fmla="*/ 0 h 54"/>
                <a:gd name="T8" fmla="*/ 2147483646 w 60"/>
                <a:gd name="T9" fmla="*/ 0 h 54"/>
                <a:gd name="T10" fmla="*/ 2147483646 w 60"/>
                <a:gd name="T11" fmla="*/ 2147483646 h 54"/>
                <a:gd name="T12" fmla="*/ 0 w 60"/>
                <a:gd name="T13" fmla="*/ 2147483646 h 54"/>
                <a:gd name="T14" fmla="*/ 2147483646 w 60"/>
                <a:gd name="T15" fmla="*/ 2147483646 h 54"/>
                <a:gd name="T16" fmla="*/ 2147483646 w 60"/>
                <a:gd name="T17" fmla="*/ 2147483646 h 54"/>
                <a:gd name="T18" fmla="*/ 2147483646 w 60"/>
                <a:gd name="T19" fmla="*/ 2147483646 h 54"/>
                <a:gd name="T20" fmla="*/ 2147483646 w 60"/>
                <a:gd name="T21" fmla="*/ 2147483646 h 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4">
                  <a:moveTo>
                    <a:pt x="54" y="36"/>
                  </a:moveTo>
                  <a:lnTo>
                    <a:pt x="60" y="24"/>
                  </a:lnTo>
                  <a:lnTo>
                    <a:pt x="54" y="18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12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36" y="54"/>
                  </a:lnTo>
                  <a:lnTo>
                    <a:pt x="42" y="42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4" name="Rectangle 316"/>
            <p:cNvSpPr>
              <a:spLocks noChangeArrowheads="1"/>
            </p:cNvSpPr>
            <p:nvPr/>
          </p:nvSpPr>
          <p:spPr bwMode="auto">
            <a:xfrm>
              <a:off x="4352018" y="3783613"/>
              <a:ext cx="8770" cy="2258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15000"/>
                </a:spcBef>
                <a:buClr>
                  <a:srgbClr val="17588A"/>
                </a:buClr>
                <a:buFont typeface="Arial" panose="020B0604020202020204" pitchFamily="34" charset="0"/>
                <a:buChar char=" 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15000"/>
                </a:spcBef>
                <a:buClr>
                  <a:schemeClr val="tx1"/>
                </a:buClr>
                <a:buFont typeface="Wingdings" panose="05000000000000000000" pitchFamily="2" charset="2"/>
                <a:buChar char="ª"/>
                <a:defRPr sz="16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15000"/>
                </a:spcBef>
                <a:buClr>
                  <a:schemeClr val="tx1"/>
                </a:buClr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15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15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fontAlgn="base">
                <a:spcAft>
                  <a:spcPct val="0"/>
                </a:spcAft>
                <a:buClrTx/>
                <a:buFontTx/>
                <a:buNone/>
              </a:pPr>
              <a:endParaRPr lang="en-US" altLang="en-US" sz="1400" b="1">
                <a:solidFill>
                  <a:srgbClr val="FFFFFF"/>
                </a:solidFill>
              </a:endParaRPr>
            </a:p>
          </p:txBody>
        </p:sp>
        <p:sp>
          <p:nvSpPr>
            <p:cNvPr id="585" name="Freeform 317"/>
            <p:cNvSpPr>
              <a:spLocks/>
            </p:cNvSpPr>
            <p:nvPr/>
          </p:nvSpPr>
          <p:spPr bwMode="auto">
            <a:xfrm>
              <a:off x="4352018" y="3524612"/>
              <a:ext cx="472125" cy="478852"/>
            </a:xfrm>
            <a:custGeom>
              <a:avLst/>
              <a:gdLst>
                <a:gd name="T0" fmla="*/ 2147483646 w 390"/>
                <a:gd name="T1" fmla="*/ 2147483646 h 390"/>
                <a:gd name="T2" fmla="*/ 2147483646 w 390"/>
                <a:gd name="T3" fmla="*/ 2147483646 h 390"/>
                <a:gd name="T4" fmla="*/ 2147483646 w 390"/>
                <a:gd name="T5" fmla="*/ 2147483646 h 390"/>
                <a:gd name="T6" fmla="*/ 2147483646 w 390"/>
                <a:gd name="T7" fmla="*/ 2147483646 h 390"/>
                <a:gd name="T8" fmla="*/ 2147483646 w 390"/>
                <a:gd name="T9" fmla="*/ 2147483646 h 390"/>
                <a:gd name="T10" fmla="*/ 2147483646 w 390"/>
                <a:gd name="T11" fmla="*/ 2147483646 h 390"/>
                <a:gd name="T12" fmla="*/ 2147483646 w 390"/>
                <a:gd name="T13" fmla="*/ 2147483646 h 390"/>
                <a:gd name="T14" fmla="*/ 2147483646 w 390"/>
                <a:gd name="T15" fmla="*/ 2147483646 h 390"/>
                <a:gd name="T16" fmla="*/ 2147483646 w 390"/>
                <a:gd name="T17" fmla="*/ 2147483646 h 390"/>
                <a:gd name="T18" fmla="*/ 2147483646 w 390"/>
                <a:gd name="T19" fmla="*/ 2147483646 h 390"/>
                <a:gd name="T20" fmla="*/ 2147483646 w 390"/>
                <a:gd name="T21" fmla="*/ 2147483646 h 390"/>
                <a:gd name="T22" fmla="*/ 2147483646 w 390"/>
                <a:gd name="T23" fmla="*/ 2147483646 h 390"/>
                <a:gd name="T24" fmla="*/ 2147483646 w 390"/>
                <a:gd name="T25" fmla="*/ 2147483646 h 390"/>
                <a:gd name="T26" fmla="*/ 2147483646 w 390"/>
                <a:gd name="T27" fmla="*/ 2147483646 h 390"/>
                <a:gd name="T28" fmla="*/ 2147483646 w 390"/>
                <a:gd name="T29" fmla="*/ 2147483646 h 390"/>
                <a:gd name="T30" fmla="*/ 2147483646 w 390"/>
                <a:gd name="T31" fmla="*/ 2147483646 h 390"/>
                <a:gd name="T32" fmla="*/ 2147483646 w 390"/>
                <a:gd name="T33" fmla="*/ 2147483646 h 390"/>
                <a:gd name="T34" fmla="*/ 2147483646 w 390"/>
                <a:gd name="T35" fmla="*/ 2147483646 h 390"/>
                <a:gd name="T36" fmla="*/ 2147483646 w 390"/>
                <a:gd name="T37" fmla="*/ 2147483646 h 390"/>
                <a:gd name="T38" fmla="*/ 2147483646 w 390"/>
                <a:gd name="T39" fmla="*/ 2147483646 h 390"/>
                <a:gd name="T40" fmla="*/ 2147483646 w 390"/>
                <a:gd name="T41" fmla="*/ 2147483646 h 390"/>
                <a:gd name="T42" fmla="*/ 2147483646 w 390"/>
                <a:gd name="T43" fmla="*/ 2147483646 h 390"/>
                <a:gd name="T44" fmla="*/ 2147483646 w 390"/>
                <a:gd name="T45" fmla="*/ 2147483646 h 390"/>
                <a:gd name="T46" fmla="*/ 2147483646 w 390"/>
                <a:gd name="T47" fmla="*/ 2147483646 h 390"/>
                <a:gd name="T48" fmla="*/ 2147483646 w 390"/>
                <a:gd name="T49" fmla="*/ 0 h 390"/>
                <a:gd name="T50" fmla="*/ 2147483646 w 390"/>
                <a:gd name="T51" fmla="*/ 2147483646 h 390"/>
                <a:gd name="T52" fmla="*/ 2147483646 w 390"/>
                <a:gd name="T53" fmla="*/ 2147483646 h 390"/>
                <a:gd name="T54" fmla="*/ 2147483646 w 390"/>
                <a:gd name="T55" fmla="*/ 2147483646 h 390"/>
                <a:gd name="T56" fmla="*/ 2147483646 w 390"/>
                <a:gd name="T57" fmla="*/ 2147483646 h 390"/>
                <a:gd name="T58" fmla="*/ 2147483646 w 390"/>
                <a:gd name="T59" fmla="*/ 2147483646 h 390"/>
                <a:gd name="T60" fmla="*/ 2147483646 w 390"/>
                <a:gd name="T61" fmla="*/ 2147483646 h 390"/>
                <a:gd name="T62" fmla="*/ 2147483646 w 390"/>
                <a:gd name="T63" fmla="*/ 2147483646 h 390"/>
                <a:gd name="T64" fmla="*/ 2147483646 w 390"/>
                <a:gd name="T65" fmla="*/ 2147483646 h 390"/>
                <a:gd name="T66" fmla="*/ 2147483646 w 390"/>
                <a:gd name="T67" fmla="*/ 2147483646 h 390"/>
                <a:gd name="T68" fmla="*/ 2147483646 w 390"/>
                <a:gd name="T69" fmla="*/ 2147483646 h 390"/>
                <a:gd name="T70" fmla="*/ 2147483646 w 390"/>
                <a:gd name="T71" fmla="*/ 2147483646 h 390"/>
                <a:gd name="T72" fmla="*/ 2147483646 w 390"/>
                <a:gd name="T73" fmla="*/ 2147483646 h 390"/>
                <a:gd name="T74" fmla="*/ 2147483646 w 390"/>
                <a:gd name="T75" fmla="*/ 2147483646 h 390"/>
                <a:gd name="T76" fmla="*/ 2147483646 w 390"/>
                <a:gd name="T77" fmla="*/ 2147483646 h 390"/>
                <a:gd name="T78" fmla="*/ 0 w 390"/>
                <a:gd name="T79" fmla="*/ 2147483646 h 390"/>
                <a:gd name="T80" fmla="*/ 2147483646 w 390"/>
                <a:gd name="T81" fmla="*/ 2147483646 h 390"/>
                <a:gd name="T82" fmla="*/ 2147483646 w 390"/>
                <a:gd name="T83" fmla="*/ 2147483646 h 390"/>
                <a:gd name="T84" fmla="*/ 2147483646 w 390"/>
                <a:gd name="T85" fmla="*/ 2147483646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6" name="Freeform 318"/>
            <p:cNvSpPr>
              <a:spLocks/>
            </p:cNvSpPr>
            <p:nvPr/>
          </p:nvSpPr>
          <p:spPr bwMode="auto">
            <a:xfrm>
              <a:off x="4352018" y="3524612"/>
              <a:ext cx="472125" cy="478852"/>
            </a:xfrm>
            <a:custGeom>
              <a:avLst/>
              <a:gdLst>
                <a:gd name="T0" fmla="*/ 2147483646 w 390"/>
                <a:gd name="T1" fmla="*/ 2147483646 h 390"/>
                <a:gd name="T2" fmla="*/ 2147483646 w 390"/>
                <a:gd name="T3" fmla="*/ 2147483646 h 390"/>
                <a:gd name="T4" fmla="*/ 2147483646 w 390"/>
                <a:gd name="T5" fmla="*/ 2147483646 h 390"/>
                <a:gd name="T6" fmla="*/ 2147483646 w 390"/>
                <a:gd name="T7" fmla="*/ 2147483646 h 390"/>
                <a:gd name="T8" fmla="*/ 2147483646 w 390"/>
                <a:gd name="T9" fmla="*/ 2147483646 h 390"/>
                <a:gd name="T10" fmla="*/ 2147483646 w 390"/>
                <a:gd name="T11" fmla="*/ 2147483646 h 390"/>
                <a:gd name="T12" fmla="*/ 2147483646 w 390"/>
                <a:gd name="T13" fmla="*/ 2147483646 h 390"/>
                <a:gd name="T14" fmla="*/ 2147483646 w 390"/>
                <a:gd name="T15" fmla="*/ 2147483646 h 390"/>
                <a:gd name="T16" fmla="*/ 2147483646 w 390"/>
                <a:gd name="T17" fmla="*/ 2147483646 h 390"/>
                <a:gd name="T18" fmla="*/ 2147483646 w 390"/>
                <a:gd name="T19" fmla="*/ 2147483646 h 390"/>
                <a:gd name="T20" fmla="*/ 2147483646 w 390"/>
                <a:gd name="T21" fmla="*/ 2147483646 h 390"/>
                <a:gd name="T22" fmla="*/ 2147483646 w 390"/>
                <a:gd name="T23" fmla="*/ 2147483646 h 390"/>
                <a:gd name="T24" fmla="*/ 2147483646 w 390"/>
                <a:gd name="T25" fmla="*/ 2147483646 h 390"/>
                <a:gd name="T26" fmla="*/ 2147483646 w 390"/>
                <a:gd name="T27" fmla="*/ 2147483646 h 390"/>
                <a:gd name="T28" fmla="*/ 2147483646 w 390"/>
                <a:gd name="T29" fmla="*/ 2147483646 h 390"/>
                <a:gd name="T30" fmla="*/ 2147483646 w 390"/>
                <a:gd name="T31" fmla="*/ 2147483646 h 390"/>
                <a:gd name="T32" fmla="*/ 2147483646 w 390"/>
                <a:gd name="T33" fmla="*/ 2147483646 h 390"/>
                <a:gd name="T34" fmla="*/ 2147483646 w 390"/>
                <a:gd name="T35" fmla="*/ 2147483646 h 390"/>
                <a:gd name="T36" fmla="*/ 2147483646 w 390"/>
                <a:gd name="T37" fmla="*/ 2147483646 h 390"/>
                <a:gd name="T38" fmla="*/ 2147483646 w 390"/>
                <a:gd name="T39" fmla="*/ 2147483646 h 390"/>
                <a:gd name="T40" fmla="*/ 2147483646 w 390"/>
                <a:gd name="T41" fmla="*/ 2147483646 h 390"/>
                <a:gd name="T42" fmla="*/ 2147483646 w 390"/>
                <a:gd name="T43" fmla="*/ 2147483646 h 390"/>
                <a:gd name="T44" fmla="*/ 2147483646 w 390"/>
                <a:gd name="T45" fmla="*/ 2147483646 h 390"/>
                <a:gd name="T46" fmla="*/ 2147483646 w 390"/>
                <a:gd name="T47" fmla="*/ 2147483646 h 390"/>
                <a:gd name="T48" fmla="*/ 2147483646 w 390"/>
                <a:gd name="T49" fmla="*/ 0 h 390"/>
                <a:gd name="T50" fmla="*/ 2147483646 w 390"/>
                <a:gd name="T51" fmla="*/ 2147483646 h 390"/>
                <a:gd name="T52" fmla="*/ 2147483646 w 390"/>
                <a:gd name="T53" fmla="*/ 2147483646 h 390"/>
                <a:gd name="T54" fmla="*/ 2147483646 w 390"/>
                <a:gd name="T55" fmla="*/ 2147483646 h 390"/>
                <a:gd name="T56" fmla="*/ 2147483646 w 390"/>
                <a:gd name="T57" fmla="*/ 2147483646 h 390"/>
                <a:gd name="T58" fmla="*/ 2147483646 w 390"/>
                <a:gd name="T59" fmla="*/ 2147483646 h 390"/>
                <a:gd name="T60" fmla="*/ 2147483646 w 390"/>
                <a:gd name="T61" fmla="*/ 2147483646 h 390"/>
                <a:gd name="T62" fmla="*/ 2147483646 w 390"/>
                <a:gd name="T63" fmla="*/ 2147483646 h 390"/>
                <a:gd name="T64" fmla="*/ 2147483646 w 390"/>
                <a:gd name="T65" fmla="*/ 2147483646 h 390"/>
                <a:gd name="T66" fmla="*/ 2147483646 w 390"/>
                <a:gd name="T67" fmla="*/ 2147483646 h 390"/>
                <a:gd name="T68" fmla="*/ 2147483646 w 390"/>
                <a:gd name="T69" fmla="*/ 2147483646 h 390"/>
                <a:gd name="T70" fmla="*/ 2147483646 w 390"/>
                <a:gd name="T71" fmla="*/ 2147483646 h 390"/>
                <a:gd name="T72" fmla="*/ 2147483646 w 390"/>
                <a:gd name="T73" fmla="*/ 2147483646 h 390"/>
                <a:gd name="T74" fmla="*/ 2147483646 w 390"/>
                <a:gd name="T75" fmla="*/ 2147483646 h 390"/>
                <a:gd name="T76" fmla="*/ 2147483646 w 390"/>
                <a:gd name="T77" fmla="*/ 2147483646 h 390"/>
                <a:gd name="T78" fmla="*/ 0 w 390"/>
                <a:gd name="T79" fmla="*/ 2147483646 h 390"/>
                <a:gd name="T80" fmla="*/ 2147483646 w 390"/>
                <a:gd name="T81" fmla="*/ 2147483646 h 390"/>
                <a:gd name="T82" fmla="*/ 2147483646 w 390"/>
                <a:gd name="T83" fmla="*/ 2147483646 h 390"/>
                <a:gd name="T84" fmla="*/ 2147483646 w 390"/>
                <a:gd name="T85" fmla="*/ 2147483646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7" name="Freeform 334"/>
            <p:cNvSpPr>
              <a:spLocks/>
            </p:cNvSpPr>
            <p:nvPr/>
          </p:nvSpPr>
          <p:spPr bwMode="auto">
            <a:xfrm>
              <a:off x="5024394" y="2139255"/>
              <a:ext cx="245563" cy="555649"/>
            </a:xfrm>
            <a:custGeom>
              <a:avLst/>
              <a:gdLst>
                <a:gd name="T0" fmla="*/ 2147483646 w 34"/>
                <a:gd name="T1" fmla="*/ 2147483646 h 75"/>
                <a:gd name="T2" fmla="*/ 2147483646 w 34"/>
                <a:gd name="T3" fmla="*/ 2147483646 h 75"/>
                <a:gd name="T4" fmla="*/ 2147483646 w 34"/>
                <a:gd name="T5" fmla="*/ 2147483646 h 75"/>
                <a:gd name="T6" fmla="*/ 2147483646 w 34"/>
                <a:gd name="T7" fmla="*/ 2147483646 h 75"/>
                <a:gd name="T8" fmla="*/ 2147483646 w 34"/>
                <a:gd name="T9" fmla="*/ 2147483646 h 75"/>
                <a:gd name="T10" fmla="*/ 2147483646 w 34"/>
                <a:gd name="T11" fmla="*/ 2147483646 h 75"/>
                <a:gd name="T12" fmla="*/ 2147483646 w 34"/>
                <a:gd name="T13" fmla="*/ 2147483646 h 75"/>
                <a:gd name="T14" fmla="*/ 2147483646 w 34"/>
                <a:gd name="T15" fmla="*/ 2147483646 h 75"/>
                <a:gd name="T16" fmla="*/ 2147483646 w 34"/>
                <a:gd name="T17" fmla="*/ 2147483646 h 75"/>
                <a:gd name="T18" fmla="*/ 2147483646 w 34"/>
                <a:gd name="T19" fmla="*/ 2147483646 h 75"/>
                <a:gd name="T20" fmla="*/ 2147483646 w 34"/>
                <a:gd name="T21" fmla="*/ 2147483646 h 75"/>
                <a:gd name="T22" fmla="*/ 2147483646 w 34"/>
                <a:gd name="T23" fmla="*/ 2147483646 h 75"/>
                <a:gd name="T24" fmla="*/ 2147483646 w 34"/>
                <a:gd name="T25" fmla="*/ 2147483646 h 75"/>
                <a:gd name="T26" fmla="*/ 2147483646 w 34"/>
                <a:gd name="T27" fmla="*/ 2147483646 h 75"/>
                <a:gd name="T28" fmla="*/ 2147483646 w 34"/>
                <a:gd name="T29" fmla="*/ 2147483646 h 75"/>
                <a:gd name="T30" fmla="*/ 2147483646 w 34"/>
                <a:gd name="T31" fmla="*/ 2147483646 h 75"/>
                <a:gd name="T32" fmla="*/ 2147483646 w 34"/>
                <a:gd name="T33" fmla="*/ 2147483646 h 75"/>
                <a:gd name="T34" fmla="*/ 2147483646 w 34"/>
                <a:gd name="T35" fmla="*/ 2147483646 h 75"/>
                <a:gd name="T36" fmla="*/ 2147483646 w 34"/>
                <a:gd name="T37" fmla="*/ 2147483646 h 75"/>
                <a:gd name="T38" fmla="*/ 2147483646 w 34"/>
                <a:gd name="T39" fmla="*/ 2147483646 h 75"/>
                <a:gd name="T40" fmla="*/ 2147483646 w 34"/>
                <a:gd name="T41" fmla="*/ 2147483646 h 75"/>
                <a:gd name="T42" fmla="*/ 2147483646 w 34"/>
                <a:gd name="T43" fmla="*/ 0 h 75"/>
                <a:gd name="T44" fmla="*/ 2147483646 w 34"/>
                <a:gd name="T45" fmla="*/ 2147483646 h 75"/>
                <a:gd name="T46" fmla="*/ 2147483646 w 34"/>
                <a:gd name="T47" fmla="*/ 2147483646 h 75"/>
                <a:gd name="T48" fmla="*/ 2147483646 w 34"/>
                <a:gd name="T49" fmla="*/ 2147483646 h 75"/>
                <a:gd name="T50" fmla="*/ 2147483646 w 34"/>
                <a:gd name="T51" fmla="*/ 2147483646 h 75"/>
                <a:gd name="T52" fmla="*/ 2147483646 w 34"/>
                <a:gd name="T53" fmla="*/ 2147483646 h 75"/>
                <a:gd name="T54" fmla="*/ 2147483646 w 34"/>
                <a:gd name="T55" fmla="*/ 2147483646 h 75"/>
                <a:gd name="T56" fmla="*/ 2147483646 w 34"/>
                <a:gd name="T57" fmla="*/ 2147483646 h 75"/>
                <a:gd name="T58" fmla="*/ 2147483646 w 34"/>
                <a:gd name="T59" fmla="*/ 2147483646 h 75"/>
                <a:gd name="T60" fmla="*/ 2147483646 w 34"/>
                <a:gd name="T61" fmla="*/ 2147483646 h 75"/>
                <a:gd name="T62" fmla="*/ 2147483646 w 34"/>
                <a:gd name="T63" fmla="*/ 2147483646 h 75"/>
                <a:gd name="T64" fmla="*/ 0 w 34"/>
                <a:gd name="T65" fmla="*/ 2147483646 h 75"/>
                <a:gd name="T66" fmla="*/ 2147483646 w 34"/>
                <a:gd name="T67" fmla="*/ 2147483646 h 75"/>
                <a:gd name="T68" fmla="*/ 2147483646 w 34"/>
                <a:gd name="T69" fmla="*/ 2147483646 h 75"/>
                <a:gd name="T70" fmla="*/ 2147483646 w 34"/>
                <a:gd name="T71" fmla="*/ 2147483646 h 75"/>
                <a:gd name="T72" fmla="*/ 2147483646 w 34"/>
                <a:gd name="T73" fmla="*/ 2147483646 h 75"/>
                <a:gd name="T74" fmla="*/ 2147483646 w 34"/>
                <a:gd name="T75" fmla="*/ 2147483646 h 75"/>
                <a:gd name="T76" fmla="*/ 2147483646 w 34"/>
                <a:gd name="T77" fmla="*/ 2147483646 h 75"/>
                <a:gd name="T78" fmla="*/ 2147483646 w 34"/>
                <a:gd name="T79" fmla="*/ 2147483646 h 75"/>
                <a:gd name="T80" fmla="*/ 2147483646 w 34"/>
                <a:gd name="T81" fmla="*/ 2147483646 h 75"/>
                <a:gd name="T82" fmla="*/ 2147483646 w 34"/>
                <a:gd name="T83" fmla="*/ 2147483646 h 75"/>
                <a:gd name="T84" fmla="*/ 2147483646 w 34"/>
                <a:gd name="T85" fmla="*/ 2147483646 h 75"/>
                <a:gd name="T86" fmla="*/ 2147483646 w 34"/>
                <a:gd name="T87" fmla="*/ 2147483646 h 75"/>
                <a:gd name="T88" fmla="*/ 2147483646 w 34"/>
                <a:gd name="T89" fmla="*/ 2147483646 h 75"/>
                <a:gd name="T90" fmla="*/ 2147483646 w 34"/>
                <a:gd name="T91" fmla="*/ 2147483646 h 75"/>
                <a:gd name="T92" fmla="*/ 2147483646 w 34"/>
                <a:gd name="T93" fmla="*/ 2147483646 h 75"/>
                <a:gd name="T94" fmla="*/ 2147483646 w 34"/>
                <a:gd name="T95" fmla="*/ 2147483646 h 75"/>
                <a:gd name="T96" fmla="*/ 2147483646 w 34"/>
                <a:gd name="T97" fmla="*/ 2147483646 h 75"/>
                <a:gd name="T98" fmla="*/ 2147483646 w 34"/>
                <a:gd name="T99" fmla="*/ 2147483646 h 75"/>
                <a:gd name="T100" fmla="*/ 2147483646 w 34"/>
                <a:gd name="T101" fmla="*/ 2147483646 h 75"/>
                <a:gd name="T102" fmla="*/ 2147483646 w 34"/>
                <a:gd name="T103" fmla="*/ 2147483646 h 75"/>
                <a:gd name="T104" fmla="*/ 2147483646 w 34"/>
                <a:gd name="T105" fmla="*/ 2147483646 h 75"/>
                <a:gd name="T106" fmla="*/ 2147483646 w 34"/>
                <a:gd name="T107" fmla="*/ 2147483646 h 75"/>
                <a:gd name="T108" fmla="*/ 2147483646 w 34"/>
                <a:gd name="T109" fmla="*/ 2147483646 h 75"/>
                <a:gd name="T110" fmla="*/ 2147483646 w 34"/>
                <a:gd name="T111" fmla="*/ 2147483646 h 75"/>
                <a:gd name="T112" fmla="*/ 2147483646 w 34"/>
                <a:gd name="T113" fmla="*/ 2147483646 h 75"/>
                <a:gd name="T114" fmla="*/ 2147483646 w 34"/>
                <a:gd name="T115" fmla="*/ 2147483646 h 7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4" h="75">
                  <a:moveTo>
                    <a:pt x="34" y="55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0" y="46"/>
                    <a:pt x="30" y="45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34" y="58"/>
                    <a:pt x="34" y="58"/>
                    <a:pt x="34" y="58"/>
                  </a:cubicBezTo>
                  <a:lnTo>
                    <a:pt x="34" y="5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8" name="Freeform 335"/>
            <p:cNvSpPr>
              <a:spLocks/>
            </p:cNvSpPr>
            <p:nvPr/>
          </p:nvSpPr>
          <p:spPr bwMode="auto">
            <a:xfrm>
              <a:off x="5277267" y="3020162"/>
              <a:ext cx="14617" cy="7529"/>
            </a:xfrm>
            <a:custGeom>
              <a:avLst/>
              <a:gdLst>
                <a:gd name="T0" fmla="*/ 2147483646 w 12"/>
                <a:gd name="T1" fmla="*/ 2147483646 h 6"/>
                <a:gd name="T2" fmla="*/ 0 w 12"/>
                <a:gd name="T3" fmla="*/ 0 h 6"/>
                <a:gd name="T4" fmla="*/ 0 w 12"/>
                <a:gd name="T5" fmla="*/ 2147483646 h 6"/>
                <a:gd name="T6" fmla="*/ 2147483646 w 12"/>
                <a:gd name="T7" fmla="*/ 214748364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9" name="Freeform 336"/>
            <p:cNvSpPr>
              <a:spLocks/>
            </p:cNvSpPr>
            <p:nvPr/>
          </p:nvSpPr>
          <p:spPr bwMode="auto">
            <a:xfrm>
              <a:off x="5183719" y="1515845"/>
              <a:ext cx="3491970" cy="1925947"/>
            </a:xfrm>
            <a:custGeom>
              <a:avLst/>
              <a:gdLst>
                <a:gd name="T0" fmla="*/ 2147483646 w 483"/>
                <a:gd name="T1" fmla="*/ 2147483646 h 260"/>
                <a:gd name="T2" fmla="*/ 2147483646 w 483"/>
                <a:gd name="T3" fmla="*/ 2147483646 h 260"/>
                <a:gd name="T4" fmla="*/ 2147483646 w 483"/>
                <a:gd name="T5" fmla="*/ 2147483646 h 260"/>
                <a:gd name="T6" fmla="*/ 2147483646 w 483"/>
                <a:gd name="T7" fmla="*/ 2147483646 h 260"/>
                <a:gd name="T8" fmla="*/ 2147483646 w 483"/>
                <a:gd name="T9" fmla="*/ 2147483646 h 260"/>
                <a:gd name="T10" fmla="*/ 2147483646 w 483"/>
                <a:gd name="T11" fmla="*/ 2147483646 h 260"/>
                <a:gd name="T12" fmla="*/ 2147483646 w 483"/>
                <a:gd name="T13" fmla="*/ 2147483646 h 260"/>
                <a:gd name="T14" fmla="*/ 2147483646 w 483"/>
                <a:gd name="T15" fmla="*/ 2147483646 h 260"/>
                <a:gd name="T16" fmla="*/ 2147483646 w 483"/>
                <a:gd name="T17" fmla="*/ 2147483646 h 260"/>
                <a:gd name="T18" fmla="*/ 2147483646 w 483"/>
                <a:gd name="T19" fmla="*/ 2147483646 h 260"/>
                <a:gd name="T20" fmla="*/ 2147483646 w 483"/>
                <a:gd name="T21" fmla="*/ 2147483646 h 260"/>
                <a:gd name="T22" fmla="*/ 2147483646 w 483"/>
                <a:gd name="T23" fmla="*/ 2147483646 h 260"/>
                <a:gd name="T24" fmla="*/ 2147483646 w 483"/>
                <a:gd name="T25" fmla="*/ 2147483646 h 260"/>
                <a:gd name="T26" fmla="*/ 2147483646 w 483"/>
                <a:gd name="T27" fmla="*/ 2147483646 h 260"/>
                <a:gd name="T28" fmla="*/ 2147483646 w 483"/>
                <a:gd name="T29" fmla="*/ 2147483646 h 260"/>
                <a:gd name="T30" fmla="*/ 2147483646 w 483"/>
                <a:gd name="T31" fmla="*/ 2147483646 h 260"/>
                <a:gd name="T32" fmla="*/ 2147483646 w 483"/>
                <a:gd name="T33" fmla="*/ 2147483646 h 260"/>
                <a:gd name="T34" fmla="*/ 2147483646 w 483"/>
                <a:gd name="T35" fmla="*/ 2147483646 h 260"/>
                <a:gd name="T36" fmla="*/ 2147483646 w 483"/>
                <a:gd name="T37" fmla="*/ 2147483646 h 260"/>
                <a:gd name="T38" fmla="*/ 2147483646 w 483"/>
                <a:gd name="T39" fmla="*/ 2147483646 h 260"/>
                <a:gd name="T40" fmla="*/ 2147483646 w 483"/>
                <a:gd name="T41" fmla="*/ 2147483646 h 260"/>
                <a:gd name="T42" fmla="*/ 2147483646 w 483"/>
                <a:gd name="T43" fmla="*/ 2147483646 h 260"/>
                <a:gd name="T44" fmla="*/ 2147483646 w 483"/>
                <a:gd name="T45" fmla="*/ 2147483646 h 260"/>
                <a:gd name="T46" fmla="*/ 2147483646 w 483"/>
                <a:gd name="T47" fmla="*/ 2147483646 h 260"/>
                <a:gd name="T48" fmla="*/ 2147483646 w 483"/>
                <a:gd name="T49" fmla="*/ 2147483646 h 260"/>
                <a:gd name="T50" fmla="*/ 2147483646 w 483"/>
                <a:gd name="T51" fmla="*/ 2147483646 h 260"/>
                <a:gd name="T52" fmla="*/ 2147483646 w 483"/>
                <a:gd name="T53" fmla="*/ 2147483646 h 260"/>
                <a:gd name="T54" fmla="*/ 2147483646 w 483"/>
                <a:gd name="T55" fmla="*/ 2147483646 h 260"/>
                <a:gd name="T56" fmla="*/ 2147483646 w 483"/>
                <a:gd name="T57" fmla="*/ 2147483646 h 260"/>
                <a:gd name="T58" fmla="*/ 2147483646 w 483"/>
                <a:gd name="T59" fmla="*/ 2147483646 h 260"/>
                <a:gd name="T60" fmla="*/ 2147483646 w 483"/>
                <a:gd name="T61" fmla="*/ 2147483646 h 260"/>
                <a:gd name="T62" fmla="*/ 2147483646 w 483"/>
                <a:gd name="T63" fmla="*/ 2147483646 h 260"/>
                <a:gd name="T64" fmla="*/ 2147483646 w 483"/>
                <a:gd name="T65" fmla="*/ 2147483646 h 260"/>
                <a:gd name="T66" fmla="*/ 2147483646 w 483"/>
                <a:gd name="T67" fmla="*/ 2147483646 h 260"/>
                <a:gd name="T68" fmla="*/ 2147483646 w 483"/>
                <a:gd name="T69" fmla="*/ 2147483646 h 260"/>
                <a:gd name="T70" fmla="*/ 2147483646 w 483"/>
                <a:gd name="T71" fmla="*/ 2147483646 h 260"/>
                <a:gd name="T72" fmla="*/ 2147483646 w 483"/>
                <a:gd name="T73" fmla="*/ 2147483646 h 260"/>
                <a:gd name="T74" fmla="*/ 2147483646 w 483"/>
                <a:gd name="T75" fmla="*/ 2147483646 h 260"/>
                <a:gd name="T76" fmla="*/ 2147483646 w 483"/>
                <a:gd name="T77" fmla="*/ 2147483646 h 260"/>
                <a:gd name="T78" fmla="*/ 2147483646 w 483"/>
                <a:gd name="T79" fmla="*/ 2147483646 h 260"/>
                <a:gd name="T80" fmla="*/ 2147483646 w 483"/>
                <a:gd name="T81" fmla="*/ 2147483646 h 260"/>
                <a:gd name="T82" fmla="*/ 2147483646 w 483"/>
                <a:gd name="T83" fmla="*/ 2147483646 h 260"/>
                <a:gd name="T84" fmla="*/ 2147483646 w 483"/>
                <a:gd name="T85" fmla="*/ 2147483646 h 260"/>
                <a:gd name="T86" fmla="*/ 2147483646 w 483"/>
                <a:gd name="T87" fmla="*/ 2147483646 h 260"/>
                <a:gd name="T88" fmla="*/ 2147483646 w 483"/>
                <a:gd name="T89" fmla="*/ 2147483646 h 260"/>
                <a:gd name="T90" fmla="*/ 2147483646 w 483"/>
                <a:gd name="T91" fmla="*/ 2147483646 h 260"/>
                <a:gd name="T92" fmla="*/ 2147483646 w 483"/>
                <a:gd name="T93" fmla="*/ 2147483646 h 260"/>
                <a:gd name="T94" fmla="*/ 2147483646 w 483"/>
                <a:gd name="T95" fmla="*/ 2147483646 h 260"/>
                <a:gd name="T96" fmla="*/ 2147483646 w 483"/>
                <a:gd name="T97" fmla="*/ 2147483646 h 260"/>
                <a:gd name="T98" fmla="*/ 2147483646 w 483"/>
                <a:gd name="T99" fmla="*/ 2147483646 h 260"/>
                <a:gd name="T100" fmla="*/ 2147483646 w 483"/>
                <a:gd name="T101" fmla="*/ 2147483646 h 260"/>
                <a:gd name="T102" fmla="*/ 2147483646 w 483"/>
                <a:gd name="T103" fmla="*/ 2147483646 h 260"/>
                <a:gd name="T104" fmla="*/ 2147483646 w 483"/>
                <a:gd name="T105" fmla="*/ 2147483646 h 260"/>
                <a:gd name="T106" fmla="*/ 2147483646 w 483"/>
                <a:gd name="T107" fmla="*/ 2147483646 h 260"/>
                <a:gd name="T108" fmla="*/ 2147483646 w 483"/>
                <a:gd name="T109" fmla="*/ 2147483646 h 260"/>
                <a:gd name="T110" fmla="*/ 2147483646 w 483"/>
                <a:gd name="T111" fmla="*/ 2147483646 h 260"/>
                <a:gd name="T112" fmla="*/ 2147483646 w 483"/>
                <a:gd name="T113" fmla="*/ 2147483646 h 260"/>
                <a:gd name="T114" fmla="*/ 2147483646 w 483"/>
                <a:gd name="T115" fmla="*/ 2147483646 h 260"/>
                <a:gd name="T116" fmla="*/ 2147483646 w 483"/>
                <a:gd name="T117" fmla="*/ 2147483646 h 260"/>
                <a:gd name="T118" fmla="*/ 2147483646 w 483"/>
                <a:gd name="T119" fmla="*/ 2147483646 h 260"/>
                <a:gd name="T120" fmla="*/ 2147483646 w 483"/>
                <a:gd name="T121" fmla="*/ 2147483646 h 260"/>
                <a:gd name="T122" fmla="*/ 2147483646 w 483"/>
                <a:gd name="T123" fmla="*/ 2147483646 h 26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83" h="260">
                  <a:moveTo>
                    <a:pt x="482" y="127"/>
                  </a:moveTo>
                  <a:cubicBezTo>
                    <a:pt x="483" y="96"/>
                    <a:pt x="483" y="96"/>
                    <a:pt x="483" y="96"/>
                  </a:cubicBezTo>
                  <a:cubicBezTo>
                    <a:pt x="480" y="95"/>
                    <a:pt x="480" y="95"/>
                    <a:pt x="480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4"/>
                    <a:pt x="474" y="90"/>
                    <a:pt x="474" y="90"/>
                  </a:cubicBezTo>
                  <a:cubicBezTo>
                    <a:pt x="473" y="89"/>
                    <a:pt x="470" y="89"/>
                    <a:pt x="470" y="89"/>
                  </a:cubicBezTo>
                  <a:cubicBezTo>
                    <a:pt x="463" y="88"/>
                    <a:pt x="463" y="88"/>
                    <a:pt x="463" y="88"/>
                  </a:cubicBezTo>
                  <a:cubicBezTo>
                    <a:pt x="459" y="87"/>
                    <a:pt x="459" y="87"/>
                    <a:pt x="459" y="87"/>
                  </a:cubicBezTo>
                  <a:cubicBezTo>
                    <a:pt x="456" y="87"/>
                    <a:pt x="456" y="87"/>
                    <a:pt x="456" y="87"/>
                  </a:cubicBezTo>
                  <a:cubicBezTo>
                    <a:pt x="454" y="87"/>
                    <a:pt x="454" y="87"/>
                    <a:pt x="454" y="87"/>
                  </a:cubicBezTo>
                  <a:cubicBezTo>
                    <a:pt x="455" y="95"/>
                    <a:pt x="455" y="95"/>
                    <a:pt x="455" y="95"/>
                  </a:cubicBezTo>
                  <a:cubicBezTo>
                    <a:pt x="455" y="95"/>
                    <a:pt x="451" y="97"/>
                    <a:pt x="451" y="97"/>
                  </a:cubicBezTo>
                  <a:cubicBezTo>
                    <a:pt x="450" y="97"/>
                    <a:pt x="448" y="94"/>
                    <a:pt x="448" y="94"/>
                  </a:cubicBezTo>
                  <a:cubicBezTo>
                    <a:pt x="445" y="91"/>
                    <a:pt x="445" y="91"/>
                    <a:pt x="445" y="91"/>
                  </a:cubicBezTo>
                  <a:cubicBezTo>
                    <a:pt x="445" y="89"/>
                    <a:pt x="445" y="89"/>
                    <a:pt x="445" y="89"/>
                  </a:cubicBezTo>
                  <a:cubicBezTo>
                    <a:pt x="440" y="89"/>
                    <a:pt x="440" y="89"/>
                    <a:pt x="440" y="89"/>
                  </a:cubicBezTo>
                  <a:cubicBezTo>
                    <a:pt x="437" y="90"/>
                    <a:pt x="437" y="90"/>
                    <a:pt x="437" y="90"/>
                  </a:cubicBezTo>
                  <a:cubicBezTo>
                    <a:pt x="431" y="89"/>
                    <a:pt x="431" y="89"/>
                    <a:pt x="431" y="89"/>
                  </a:cubicBezTo>
                  <a:cubicBezTo>
                    <a:pt x="426" y="89"/>
                    <a:pt x="426" y="89"/>
                    <a:pt x="426" y="89"/>
                  </a:cubicBezTo>
                  <a:cubicBezTo>
                    <a:pt x="423" y="90"/>
                    <a:pt x="423" y="90"/>
                    <a:pt x="423" y="90"/>
                  </a:cubicBezTo>
                  <a:cubicBezTo>
                    <a:pt x="419" y="87"/>
                    <a:pt x="419" y="87"/>
                    <a:pt x="419" y="87"/>
                  </a:cubicBezTo>
                  <a:cubicBezTo>
                    <a:pt x="419" y="80"/>
                    <a:pt x="419" y="80"/>
                    <a:pt x="419" y="80"/>
                  </a:cubicBezTo>
                  <a:cubicBezTo>
                    <a:pt x="413" y="77"/>
                    <a:pt x="413" y="77"/>
                    <a:pt x="413" y="77"/>
                  </a:cubicBezTo>
                  <a:cubicBezTo>
                    <a:pt x="403" y="77"/>
                    <a:pt x="403" y="77"/>
                    <a:pt x="403" y="77"/>
                  </a:cubicBezTo>
                  <a:cubicBezTo>
                    <a:pt x="394" y="77"/>
                    <a:pt x="394" y="77"/>
                    <a:pt x="394" y="77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92" y="72"/>
                    <a:pt x="392" y="72"/>
                    <a:pt x="392" y="72"/>
                  </a:cubicBezTo>
                  <a:cubicBezTo>
                    <a:pt x="386" y="69"/>
                    <a:pt x="386" y="69"/>
                    <a:pt x="386" y="69"/>
                  </a:cubicBezTo>
                  <a:cubicBezTo>
                    <a:pt x="386" y="64"/>
                    <a:pt x="386" y="64"/>
                    <a:pt x="386" y="64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1" y="61"/>
                    <a:pt x="361" y="61"/>
                    <a:pt x="361" y="61"/>
                  </a:cubicBezTo>
                  <a:cubicBezTo>
                    <a:pt x="356" y="65"/>
                    <a:pt x="356" y="65"/>
                    <a:pt x="356" y="65"/>
                  </a:cubicBezTo>
                  <a:cubicBezTo>
                    <a:pt x="357" y="71"/>
                    <a:pt x="357" y="71"/>
                    <a:pt x="357" y="71"/>
                  </a:cubicBezTo>
                  <a:cubicBezTo>
                    <a:pt x="351" y="73"/>
                    <a:pt x="351" y="73"/>
                    <a:pt x="351" y="73"/>
                  </a:cubicBezTo>
                  <a:cubicBezTo>
                    <a:pt x="347" y="72"/>
                    <a:pt x="347" y="72"/>
                    <a:pt x="347" y="72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0" y="72"/>
                    <a:pt x="340" y="72"/>
                    <a:pt x="340" y="72"/>
                  </a:cubicBezTo>
                  <a:cubicBezTo>
                    <a:pt x="336" y="71"/>
                    <a:pt x="336" y="71"/>
                    <a:pt x="336" y="71"/>
                  </a:cubicBezTo>
                  <a:cubicBezTo>
                    <a:pt x="332" y="68"/>
                    <a:pt x="332" y="68"/>
                    <a:pt x="332" y="68"/>
                  </a:cubicBezTo>
                  <a:cubicBezTo>
                    <a:pt x="331" y="74"/>
                    <a:pt x="331" y="74"/>
                    <a:pt x="331" y="74"/>
                  </a:cubicBezTo>
                  <a:cubicBezTo>
                    <a:pt x="328" y="78"/>
                    <a:pt x="328" y="78"/>
                    <a:pt x="328" y="78"/>
                  </a:cubicBezTo>
                  <a:cubicBezTo>
                    <a:pt x="323" y="73"/>
                    <a:pt x="323" y="73"/>
                    <a:pt x="323" y="73"/>
                  </a:cubicBezTo>
                  <a:cubicBezTo>
                    <a:pt x="320" y="67"/>
                    <a:pt x="320" y="67"/>
                    <a:pt x="320" y="67"/>
                  </a:cubicBezTo>
                  <a:cubicBezTo>
                    <a:pt x="323" y="60"/>
                    <a:pt x="323" y="60"/>
                    <a:pt x="323" y="60"/>
                  </a:cubicBezTo>
                  <a:cubicBezTo>
                    <a:pt x="323" y="57"/>
                    <a:pt x="323" y="57"/>
                    <a:pt x="323" y="57"/>
                  </a:cubicBezTo>
                  <a:cubicBezTo>
                    <a:pt x="320" y="52"/>
                    <a:pt x="320" y="52"/>
                    <a:pt x="320" y="52"/>
                  </a:cubicBezTo>
                  <a:cubicBezTo>
                    <a:pt x="316" y="51"/>
                    <a:pt x="316" y="51"/>
                    <a:pt x="316" y="51"/>
                  </a:cubicBezTo>
                  <a:cubicBezTo>
                    <a:pt x="312" y="51"/>
                    <a:pt x="312" y="51"/>
                    <a:pt x="312" y="51"/>
                  </a:cubicBezTo>
                  <a:cubicBezTo>
                    <a:pt x="310" y="49"/>
                    <a:pt x="310" y="49"/>
                    <a:pt x="310" y="49"/>
                  </a:cubicBezTo>
                  <a:cubicBezTo>
                    <a:pt x="306" y="46"/>
                    <a:pt x="306" y="46"/>
                    <a:pt x="306" y="46"/>
                  </a:cubicBezTo>
                  <a:cubicBezTo>
                    <a:pt x="303" y="50"/>
                    <a:pt x="303" y="50"/>
                    <a:pt x="303" y="50"/>
                  </a:cubicBezTo>
                  <a:cubicBezTo>
                    <a:pt x="301" y="55"/>
                    <a:pt x="301" y="55"/>
                    <a:pt x="301" y="55"/>
                  </a:cubicBezTo>
                  <a:cubicBezTo>
                    <a:pt x="292" y="55"/>
                    <a:pt x="292" y="55"/>
                    <a:pt x="292" y="55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86" y="49"/>
                    <a:pt x="286" y="49"/>
                    <a:pt x="286" y="49"/>
                  </a:cubicBezTo>
                  <a:cubicBezTo>
                    <a:pt x="277" y="49"/>
                    <a:pt x="277" y="49"/>
                    <a:pt x="277" y="49"/>
                  </a:cubicBezTo>
                  <a:cubicBezTo>
                    <a:pt x="272" y="52"/>
                    <a:pt x="272" y="52"/>
                    <a:pt x="272" y="52"/>
                  </a:cubicBezTo>
                  <a:cubicBezTo>
                    <a:pt x="271" y="49"/>
                    <a:pt x="271" y="49"/>
                    <a:pt x="271" y="49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59" y="49"/>
                    <a:pt x="259" y="49"/>
                    <a:pt x="259" y="49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47" y="57"/>
                    <a:pt x="247" y="57"/>
                    <a:pt x="247" y="57"/>
                  </a:cubicBezTo>
                  <a:cubicBezTo>
                    <a:pt x="251" y="51"/>
                    <a:pt x="251" y="51"/>
                    <a:pt x="251" y="51"/>
                  </a:cubicBezTo>
                  <a:cubicBezTo>
                    <a:pt x="255" y="48"/>
                    <a:pt x="255" y="48"/>
                    <a:pt x="255" y="48"/>
                  </a:cubicBezTo>
                  <a:cubicBezTo>
                    <a:pt x="262" y="39"/>
                    <a:pt x="262" y="39"/>
                    <a:pt x="262" y="39"/>
                  </a:cubicBezTo>
                  <a:cubicBezTo>
                    <a:pt x="266" y="35"/>
                    <a:pt x="266" y="35"/>
                    <a:pt x="266" y="35"/>
                  </a:cubicBezTo>
                  <a:cubicBezTo>
                    <a:pt x="270" y="29"/>
                    <a:pt x="270" y="29"/>
                    <a:pt x="270" y="29"/>
                  </a:cubicBezTo>
                  <a:cubicBezTo>
                    <a:pt x="268" y="19"/>
                    <a:pt x="268" y="19"/>
                    <a:pt x="268" y="19"/>
                  </a:cubicBezTo>
                  <a:cubicBezTo>
                    <a:pt x="260" y="12"/>
                    <a:pt x="260" y="12"/>
                    <a:pt x="260" y="12"/>
                  </a:cubicBezTo>
                  <a:cubicBezTo>
                    <a:pt x="254" y="11"/>
                    <a:pt x="254" y="11"/>
                    <a:pt x="254" y="11"/>
                  </a:cubicBezTo>
                  <a:cubicBezTo>
                    <a:pt x="254" y="8"/>
                    <a:pt x="254" y="8"/>
                    <a:pt x="254" y="8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9" y="1"/>
                    <a:pt x="242" y="0"/>
                    <a:pt x="241" y="0"/>
                  </a:cubicBezTo>
                  <a:cubicBezTo>
                    <a:pt x="241" y="1"/>
                    <a:pt x="233" y="9"/>
                    <a:pt x="233" y="9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06" y="23"/>
                    <a:pt x="206" y="23"/>
                    <a:pt x="206" y="23"/>
                  </a:cubicBezTo>
                  <a:cubicBezTo>
                    <a:pt x="195" y="29"/>
                    <a:pt x="195" y="29"/>
                    <a:pt x="195" y="29"/>
                  </a:cubicBezTo>
                  <a:cubicBezTo>
                    <a:pt x="190" y="35"/>
                    <a:pt x="190" y="35"/>
                    <a:pt x="190" y="35"/>
                  </a:cubicBezTo>
                  <a:cubicBezTo>
                    <a:pt x="190" y="35"/>
                    <a:pt x="189" y="46"/>
                    <a:pt x="188" y="46"/>
                  </a:cubicBezTo>
                  <a:cubicBezTo>
                    <a:pt x="187" y="46"/>
                    <a:pt x="172" y="50"/>
                    <a:pt x="172" y="50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71" y="63"/>
                    <a:pt x="170" y="64"/>
                  </a:cubicBezTo>
                  <a:cubicBezTo>
                    <a:pt x="170" y="64"/>
                    <a:pt x="167" y="63"/>
                    <a:pt x="167" y="63"/>
                  </a:cubicBezTo>
                  <a:cubicBezTo>
                    <a:pt x="162" y="61"/>
                    <a:pt x="162" y="61"/>
                    <a:pt x="162" y="61"/>
                  </a:cubicBezTo>
                  <a:cubicBezTo>
                    <a:pt x="162" y="61"/>
                    <a:pt x="160" y="65"/>
                    <a:pt x="158" y="66"/>
                  </a:cubicBezTo>
                  <a:cubicBezTo>
                    <a:pt x="155" y="67"/>
                    <a:pt x="155" y="62"/>
                    <a:pt x="155" y="62"/>
                  </a:cubicBezTo>
                  <a:cubicBezTo>
                    <a:pt x="152" y="59"/>
                    <a:pt x="152" y="59"/>
                    <a:pt x="152" y="59"/>
                  </a:cubicBezTo>
                  <a:cubicBezTo>
                    <a:pt x="150" y="59"/>
                    <a:pt x="150" y="59"/>
                    <a:pt x="150" y="59"/>
                  </a:cubicBezTo>
                  <a:cubicBezTo>
                    <a:pt x="148" y="65"/>
                    <a:pt x="148" y="65"/>
                    <a:pt x="148" y="65"/>
                  </a:cubicBezTo>
                  <a:cubicBezTo>
                    <a:pt x="148" y="65"/>
                    <a:pt x="148" y="70"/>
                    <a:pt x="148" y="70"/>
                  </a:cubicBezTo>
                  <a:cubicBezTo>
                    <a:pt x="149" y="71"/>
                    <a:pt x="148" y="79"/>
                    <a:pt x="148" y="79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5" y="68"/>
                    <a:pt x="145" y="68"/>
                    <a:pt x="145" y="68"/>
                  </a:cubicBezTo>
                  <a:cubicBezTo>
                    <a:pt x="144" y="63"/>
                    <a:pt x="144" y="63"/>
                    <a:pt x="144" y="63"/>
                  </a:cubicBezTo>
                  <a:cubicBezTo>
                    <a:pt x="143" y="58"/>
                    <a:pt x="143" y="58"/>
                    <a:pt x="143" y="5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6" y="88"/>
                    <a:pt x="126" y="88"/>
                    <a:pt x="126" y="88"/>
                  </a:cubicBezTo>
                  <a:cubicBezTo>
                    <a:pt x="132" y="94"/>
                    <a:pt x="132" y="94"/>
                    <a:pt x="132" y="94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1" y="94"/>
                    <a:pt x="121" y="94"/>
                    <a:pt x="121" y="94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0"/>
                    <a:pt x="39" y="129"/>
                    <a:pt x="39" y="129"/>
                  </a:cubicBezTo>
                  <a:cubicBezTo>
                    <a:pt x="38" y="128"/>
                    <a:pt x="33" y="128"/>
                    <a:pt x="33" y="128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30" y="129"/>
                    <a:pt x="30" y="129"/>
                    <a:pt x="30" y="129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2"/>
                    <a:pt x="22" y="113"/>
                    <a:pt x="22" y="113"/>
                  </a:cubicBezTo>
                  <a:cubicBezTo>
                    <a:pt x="23" y="113"/>
                    <a:pt x="24" y="116"/>
                    <a:pt x="24" y="116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3" y="100"/>
                    <a:pt x="3" y="100"/>
                    <a:pt x="3" y="100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6" y="124"/>
                    <a:pt x="6" y="124"/>
                    <a:pt x="6" y="124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8" y="129"/>
                    <a:pt x="7" y="131"/>
                    <a:pt x="7" y="131"/>
                  </a:cubicBezTo>
                  <a:cubicBezTo>
                    <a:pt x="8" y="131"/>
                    <a:pt x="9" y="133"/>
                    <a:pt x="9" y="133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1" y="171"/>
                    <a:pt x="1" y="171"/>
                    <a:pt x="1" y="17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9" y="186"/>
                    <a:pt x="9" y="186"/>
                    <a:pt x="9" y="186"/>
                  </a:cubicBezTo>
                  <a:cubicBezTo>
                    <a:pt x="13" y="195"/>
                    <a:pt x="13" y="195"/>
                    <a:pt x="13" y="195"/>
                  </a:cubicBezTo>
                  <a:cubicBezTo>
                    <a:pt x="16" y="197"/>
                    <a:pt x="16" y="197"/>
                    <a:pt x="16" y="197"/>
                  </a:cubicBezTo>
                  <a:cubicBezTo>
                    <a:pt x="15" y="199"/>
                    <a:pt x="15" y="199"/>
                    <a:pt x="15" y="199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3" y="204"/>
                    <a:pt x="13" y="204"/>
                    <a:pt x="13" y="204"/>
                  </a:cubicBezTo>
                  <a:cubicBezTo>
                    <a:pt x="15" y="205"/>
                    <a:pt x="15" y="205"/>
                    <a:pt x="15" y="205"/>
                  </a:cubicBezTo>
                  <a:cubicBezTo>
                    <a:pt x="18" y="205"/>
                    <a:pt x="18" y="205"/>
                    <a:pt x="18" y="205"/>
                  </a:cubicBezTo>
                  <a:cubicBezTo>
                    <a:pt x="21" y="208"/>
                    <a:pt x="21" y="208"/>
                    <a:pt x="21" y="208"/>
                  </a:cubicBezTo>
                  <a:cubicBezTo>
                    <a:pt x="22" y="209"/>
                    <a:pt x="22" y="209"/>
                    <a:pt x="22" y="209"/>
                  </a:cubicBezTo>
                  <a:cubicBezTo>
                    <a:pt x="34" y="214"/>
                    <a:pt x="34" y="214"/>
                    <a:pt x="34" y="214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4" y="219"/>
                    <a:pt x="34" y="219"/>
                    <a:pt x="34" y="219"/>
                  </a:cubicBezTo>
                  <a:cubicBezTo>
                    <a:pt x="32" y="220"/>
                    <a:pt x="32" y="220"/>
                    <a:pt x="32" y="220"/>
                  </a:cubicBezTo>
                  <a:cubicBezTo>
                    <a:pt x="30" y="223"/>
                    <a:pt x="30" y="223"/>
                    <a:pt x="30" y="223"/>
                  </a:cubicBezTo>
                  <a:cubicBezTo>
                    <a:pt x="28" y="225"/>
                    <a:pt x="28" y="225"/>
                    <a:pt x="28" y="225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26" y="232"/>
                    <a:pt x="26" y="232"/>
                    <a:pt x="26" y="232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35" y="239"/>
                    <a:pt x="35" y="239"/>
                    <a:pt x="35" y="239"/>
                  </a:cubicBezTo>
                  <a:cubicBezTo>
                    <a:pt x="40" y="244"/>
                    <a:pt x="40" y="244"/>
                    <a:pt x="40" y="244"/>
                  </a:cubicBezTo>
                  <a:cubicBezTo>
                    <a:pt x="40" y="247"/>
                    <a:pt x="40" y="247"/>
                    <a:pt x="40" y="247"/>
                  </a:cubicBezTo>
                  <a:cubicBezTo>
                    <a:pt x="42" y="248"/>
                    <a:pt x="42" y="248"/>
                    <a:pt x="42" y="248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47" y="250"/>
                    <a:pt x="47" y="250"/>
                    <a:pt x="47" y="250"/>
                  </a:cubicBezTo>
                  <a:cubicBezTo>
                    <a:pt x="50" y="255"/>
                    <a:pt x="50" y="255"/>
                    <a:pt x="50" y="255"/>
                  </a:cubicBezTo>
                  <a:cubicBezTo>
                    <a:pt x="49" y="256"/>
                    <a:pt x="49" y="256"/>
                    <a:pt x="49" y="256"/>
                  </a:cubicBezTo>
                  <a:cubicBezTo>
                    <a:pt x="52" y="259"/>
                    <a:pt x="52" y="259"/>
                    <a:pt x="52" y="259"/>
                  </a:cubicBezTo>
                  <a:cubicBezTo>
                    <a:pt x="56" y="259"/>
                    <a:pt x="56" y="259"/>
                    <a:pt x="56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61" y="258"/>
                    <a:pt x="61" y="258"/>
                    <a:pt x="61" y="258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2" y="260"/>
                    <a:pt x="62" y="260"/>
                    <a:pt x="62" y="260"/>
                  </a:cubicBezTo>
                  <a:cubicBezTo>
                    <a:pt x="64" y="257"/>
                    <a:pt x="64" y="257"/>
                    <a:pt x="64" y="257"/>
                  </a:cubicBezTo>
                  <a:cubicBezTo>
                    <a:pt x="67" y="253"/>
                    <a:pt x="67" y="253"/>
                    <a:pt x="67" y="253"/>
                  </a:cubicBezTo>
                  <a:cubicBezTo>
                    <a:pt x="67" y="253"/>
                    <a:pt x="64" y="244"/>
                    <a:pt x="63" y="244"/>
                  </a:cubicBezTo>
                  <a:cubicBezTo>
                    <a:pt x="62" y="243"/>
                    <a:pt x="56" y="235"/>
                    <a:pt x="56" y="235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63" y="226"/>
                    <a:pt x="63" y="226"/>
                    <a:pt x="63" y="226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63" y="214"/>
                    <a:pt x="63" y="214"/>
                    <a:pt x="63" y="214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82" y="209"/>
                    <a:pt x="82" y="209"/>
                    <a:pt x="82" y="209"/>
                  </a:cubicBezTo>
                  <a:cubicBezTo>
                    <a:pt x="87" y="212"/>
                    <a:pt x="87" y="212"/>
                    <a:pt x="87" y="212"/>
                  </a:cubicBezTo>
                  <a:cubicBezTo>
                    <a:pt x="93" y="211"/>
                    <a:pt x="93" y="211"/>
                    <a:pt x="93" y="211"/>
                  </a:cubicBezTo>
                  <a:cubicBezTo>
                    <a:pt x="100" y="213"/>
                    <a:pt x="100" y="213"/>
                    <a:pt x="100" y="213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05" y="205"/>
                    <a:pt x="105" y="205"/>
                    <a:pt x="105" y="205"/>
                  </a:cubicBezTo>
                  <a:cubicBezTo>
                    <a:pt x="109" y="196"/>
                    <a:pt x="109" y="196"/>
                    <a:pt x="109" y="196"/>
                  </a:cubicBezTo>
                  <a:cubicBezTo>
                    <a:pt x="122" y="191"/>
                    <a:pt x="122" y="191"/>
                    <a:pt x="122" y="191"/>
                  </a:cubicBezTo>
                  <a:cubicBezTo>
                    <a:pt x="134" y="189"/>
                    <a:pt x="134" y="189"/>
                    <a:pt x="134" y="189"/>
                  </a:cubicBezTo>
                  <a:cubicBezTo>
                    <a:pt x="142" y="198"/>
                    <a:pt x="142" y="198"/>
                    <a:pt x="142" y="198"/>
                  </a:cubicBezTo>
                  <a:cubicBezTo>
                    <a:pt x="151" y="195"/>
                    <a:pt x="151" y="195"/>
                    <a:pt x="151" y="195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203"/>
                    <a:pt x="160" y="203"/>
                    <a:pt x="160" y="203"/>
                  </a:cubicBezTo>
                  <a:cubicBezTo>
                    <a:pt x="164" y="212"/>
                    <a:pt x="164" y="212"/>
                    <a:pt x="164" y="212"/>
                  </a:cubicBezTo>
                  <a:cubicBezTo>
                    <a:pt x="174" y="212"/>
                    <a:pt x="174" y="212"/>
                    <a:pt x="174" y="212"/>
                  </a:cubicBezTo>
                  <a:cubicBezTo>
                    <a:pt x="182" y="216"/>
                    <a:pt x="182" y="216"/>
                    <a:pt x="182" y="216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89" y="223"/>
                    <a:pt x="189" y="223"/>
                    <a:pt x="189" y="223"/>
                  </a:cubicBezTo>
                  <a:cubicBezTo>
                    <a:pt x="191" y="222"/>
                    <a:pt x="191" y="222"/>
                    <a:pt x="191" y="222"/>
                  </a:cubicBezTo>
                  <a:cubicBezTo>
                    <a:pt x="192" y="223"/>
                    <a:pt x="192" y="223"/>
                    <a:pt x="192" y="223"/>
                  </a:cubicBezTo>
                  <a:cubicBezTo>
                    <a:pt x="194" y="219"/>
                    <a:pt x="194" y="219"/>
                    <a:pt x="194" y="219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12" y="213"/>
                    <a:pt x="212" y="213"/>
                    <a:pt x="212" y="213"/>
                  </a:cubicBezTo>
                  <a:cubicBezTo>
                    <a:pt x="220" y="217"/>
                    <a:pt x="220" y="217"/>
                    <a:pt x="220" y="217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28" y="206"/>
                    <a:pt x="228" y="206"/>
                    <a:pt x="228" y="206"/>
                  </a:cubicBezTo>
                  <a:cubicBezTo>
                    <a:pt x="240" y="211"/>
                    <a:pt x="240" y="211"/>
                    <a:pt x="240" y="211"/>
                  </a:cubicBezTo>
                  <a:cubicBezTo>
                    <a:pt x="243" y="215"/>
                    <a:pt x="243" y="215"/>
                    <a:pt x="243" y="215"/>
                  </a:cubicBezTo>
                  <a:cubicBezTo>
                    <a:pt x="253" y="215"/>
                    <a:pt x="253" y="215"/>
                    <a:pt x="253" y="215"/>
                  </a:cubicBezTo>
                  <a:cubicBezTo>
                    <a:pt x="259" y="220"/>
                    <a:pt x="259" y="220"/>
                    <a:pt x="259" y="220"/>
                  </a:cubicBezTo>
                  <a:cubicBezTo>
                    <a:pt x="275" y="216"/>
                    <a:pt x="275" y="216"/>
                    <a:pt x="275" y="216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3" y="216"/>
                    <a:pt x="283" y="216"/>
                    <a:pt x="283" y="216"/>
                  </a:cubicBezTo>
                  <a:cubicBezTo>
                    <a:pt x="289" y="216"/>
                    <a:pt x="289" y="216"/>
                    <a:pt x="289" y="216"/>
                  </a:cubicBezTo>
                  <a:cubicBezTo>
                    <a:pt x="295" y="205"/>
                    <a:pt x="295" y="205"/>
                    <a:pt x="295" y="205"/>
                  </a:cubicBezTo>
                  <a:cubicBezTo>
                    <a:pt x="298" y="200"/>
                    <a:pt x="298" y="200"/>
                    <a:pt x="298" y="200"/>
                  </a:cubicBezTo>
                  <a:cubicBezTo>
                    <a:pt x="307" y="200"/>
                    <a:pt x="307" y="200"/>
                    <a:pt x="307" y="200"/>
                  </a:cubicBezTo>
                  <a:cubicBezTo>
                    <a:pt x="317" y="218"/>
                    <a:pt x="317" y="218"/>
                    <a:pt x="317" y="218"/>
                  </a:cubicBezTo>
                  <a:cubicBezTo>
                    <a:pt x="325" y="220"/>
                    <a:pt x="325" y="220"/>
                    <a:pt x="325" y="220"/>
                  </a:cubicBezTo>
                  <a:cubicBezTo>
                    <a:pt x="327" y="224"/>
                    <a:pt x="327" y="224"/>
                    <a:pt x="327" y="224"/>
                  </a:cubicBezTo>
                  <a:cubicBezTo>
                    <a:pt x="339" y="223"/>
                    <a:pt x="339" y="223"/>
                    <a:pt x="339" y="223"/>
                  </a:cubicBezTo>
                  <a:cubicBezTo>
                    <a:pt x="334" y="238"/>
                    <a:pt x="334" y="238"/>
                    <a:pt x="334" y="238"/>
                  </a:cubicBezTo>
                  <a:cubicBezTo>
                    <a:pt x="329" y="239"/>
                    <a:pt x="329" y="239"/>
                    <a:pt x="329" y="239"/>
                  </a:cubicBezTo>
                  <a:cubicBezTo>
                    <a:pt x="326" y="250"/>
                    <a:pt x="326" y="250"/>
                    <a:pt x="326" y="250"/>
                  </a:cubicBezTo>
                  <a:cubicBezTo>
                    <a:pt x="327" y="250"/>
                    <a:pt x="327" y="250"/>
                    <a:pt x="327" y="250"/>
                  </a:cubicBezTo>
                  <a:cubicBezTo>
                    <a:pt x="329" y="250"/>
                    <a:pt x="329" y="250"/>
                    <a:pt x="329" y="250"/>
                  </a:cubicBezTo>
                  <a:cubicBezTo>
                    <a:pt x="331" y="249"/>
                    <a:pt x="331" y="249"/>
                    <a:pt x="331" y="249"/>
                  </a:cubicBezTo>
                  <a:cubicBezTo>
                    <a:pt x="332" y="249"/>
                    <a:pt x="332" y="249"/>
                    <a:pt x="332" y="249"/>
                  </a:cubicBezTo>
                  <a:cubicBezTo>
                    <a:pt x="335" y="250"/>
                    <a:pt x="335" y="250"/>
                    <a:pt x="335" y="250"/>
                  </a:cubicBezTo>
                  <a:cubicBezTo>
                    <a:pt x="342" y="245"/>
                    <a:pt x="342" y="245"/>
                    <a:pt x="342" y="245"/>
                  </a:cubicBezTo>
                  <a:cubicBezTo>
                    <a:pt x="345" y="241"/>
                    <a:pt x="345" y="241"/>
                    <a:pt x="345" y="241"/>
                  </a:cubicBezTo>
                  <a:cubicBezTo>
                    <a:pt x="353" y="230"/>
                    <a:pt x="353" y="230"/>
                    <a:pt x="353" y="230"/>
                  </a:cubicBezTo>
                  <a:cubicBezTo>
                    <a:pt x="357" y="223"/>
                    <a:pt x="357" y="223"/>
                    <a:pt x="357" y="223"/>
                  </a:cubicBezTo>
                  <a:cubicBezTo>
                    <a:pt x="358" y="214"/>
                    <a:pt x="358" y="214"/>
                    <a:pt x="358" y="214"/>
                  </a:cubicBezTo>
                  <a:cubicBezTo>
                    <a:pt x="360" y="203"/>
                    <a:pt x="360" y="203"/>
                    <a:pt x="360" y="203"/>
                  </a:cubicBezTo>
                  <a:cubicBezTo>
                    <a:pt x="360" y="199"/>
                    <a:pt x="360" y="199"/>
                    <a:pt x="360" y="199"/>
                  </a:cubicBezTo>
                  <a:cubicBezTo>
                    <a:pt x="355" y="194"/>
                    <a:pt x="355" y="194"/>
                    <a:pt x="355" y="194"/>
                  </a:cubicBezTo>
                  <a:cubicBezTo>
                    <a:pt x="355" y="194"/>
                    <a:pt x="349" y="198"/>
                    <a:pt x="349" y="198"/>
                  </a:cubicBezTo>
                  <a:cubicBezTo>
                    <a:pt x="348" y="198"/>
                    <a:pt x="346" y="196"/>
                    <a:pt x="346" y="196"/>
                  </a:cubicBezTo>
                  <a:cubicBezTo>
                    <a:pt x="344" y="192"/>
                    <a:pt x="344" y="192"/>
                    <a:pt x="344" y="192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4" y="190"/>
                    <a:pt x="344" y="190"/>
                    <a:pt x="344" y="190"/>
                  </a:cubicBezTo>
                  <a:cubicBezTo>
                    <a:pt x="349" y="185"/>
                    <a:pt x="349" y="185"/>
                    <a:pt x="349" y="185"/>
                  </a:cubicBezTo>
                  <a:cubicBezTo>
                    <a:pt x="353" y="180"/>
                    <a:pt x="353" y="180"/>
                    <a:pt x="353" y="180"/>
                  </a:cubicBezTo>
                  <a:cubicBezTo>
                    <a:pt x="354" y="178"/>
                    <a:pt x="354" y="178"/>
                    <a:pt x="354" y="178"/>
                  </a:cubicBezTo>
                  <a:cubicBezTo>
                    <a:pt x="367" y="165"/>
                    <a:pt x="367" y="165"/>
                    <a:pt x="367" y="165"/>
                  </a:cubicBezTo>
                  <a:cubicBezTo>
                    <a:pt x="371" y="164"/>
                    <a:pt x="371" y="164"/>
                    <a:pt x="371" y="164"/>
                  </a:cubicBezTo>
                  <a:cubicBezTo>
                    <a:pt x="381" y="164"/>
                    <a:pt x="381" y="164"/>
                    <a:pt x="381" y="164"/>
                  </a:cubicBezTo>
                  <a:cubicBezTo>
                    <a:pt x="386" y="163"/>
                    <a:pt x="386" y="163"/>
                    <a:pt x="386" y="163"/>
                  </a:cubicBezTo>
                  <a:cubicBezTo>
                    <a:pt x="392" y="165"/>
                    <a:pt x="392" y="165"/>
                    <a:pt x="392" y="165"/>
                  </a:cubicBezTo>
                  <a:cubicBezTo>
                    <a:pt x="392" y="168"/>
                    <a:pt x="392" y="168"/>
                    <a:pt x="392" y="168"/>
                  </a:cubicBezTo>
                  <a:cubicBezTo>
                    <a:pt x="392" y="168"/>
                    <a:pt x="400" y="166"/>
                    <a:pt x="401" y="166"/>
                  </a:cubicBezTo>
                  <a:cubicBezTo>
                    <a:pt x="401" y="167"/>
                    <a:pt x="403" y="166"/>
                    <a:pt x="403" y="166"/>
                  </a:cubicBezTo>
                  <a:cubicBezTo>
                    <a:pt x="402" y="164"/>
                    <a:pt x="402" y="164"/>
                    <a:pt x="402" y="164"/>
                  </a:cubicBezTo>
                  <a:cubicBezTo>
                    <a:pt x="403" y="159"/>
                    <a:pt x="403" y="159"/>
                    <a:pt x="403" y="159"/>
                  </a:cubicBezTo>
                  <a:cubicBezTo>
                    <a:pt x="406" y="153"/>
                    <a:pt x="406" y="153"/>
                    <a:pt x="406" y="153"/>
                  </a:cubicBezTo>
                  <a:cubicBezTo>
                    <a:pt x="411" y="149"/>
                    <a:pt x="411" y="149"/>
                    <a:pt x="411" y="149"/>
                  </a:cubicBezTo>
                  <a:cubicBezTo>
                    <a:pt x="419" y="150"/>
                    <a:pt x="419" y="150"/>
                    <a:pt x="419" y="150"/>
                  </a:cubicBezTo>
                  <a:cubicBezTo>
                    <a:pt x="421" y="155"/>
                    <a:pt x="421" y="155"/>
                    <a:pt x="421" y="155"/>
                  </a:cubicBezTo>
                  <a:cubicBezTo>
                    <a:pt x="426" y="151"/>
                    <a:pt x="426" y="151"/>
                    <a:pt x="426" y="151"/>
                  </a:cubicBezTo>
                  <a:cubicBezTo>
                    <a:pt x="433" y="144"/>
                    <a:pt x="433" y="144"/>
                    <a:pt x="433" y="144"/>
                  </a:cubicBezTo>
                  <a:cubicBezTo>
                    <a:pt x="433" y="152"/>
                    <a:pt x="433" y="152"/>
                    <a:pt x="433" y="152"/>
                  </a:cubicBezTo>
                  <a:cubicBezTo>
                    <a:pt x="427" y="158"/>
                    <a:pt x="427" y="158"/>
                    <a:pt x="427" y="158"/>
                  </a:cubicBezTo>
                  <a:cubicBezTo>
                    <a:pt x="423" y="160"/>
                    <a:pt x="423" y="160"/>
                    <a:pt x="423" y="160"/>
                  </a:cubicBezTo>
                  <a:cubicBezTo>
                    <a:pt x="419" y="166"/>
                    <a:pt x="419" y="166"/>
                    <a:pt x="419" y="166"/>
                  </a:cubicBezTo>
                  <a:cubicBezTo>
                    <a:pt x="416" y="171"/>
                    <a:pt x="416" y="171"/>
                    <a:pt x="416" y="171"/>
                  </a:cubicBezTo>
                  <a:cubicBezTo>
                    <a:pt x="416" y="171"/>
                    <a:pt x="411" y="173"/>
                    <a:pt x="411" y="174"/>
                  </a:cubicBezTo>
                  <a:cubicBezTo>
                    <a:pt x="410" y="174"/>
                    <a:pt x="409" y="175"/>
                    <a:pt x="409" y="175"/>
                  </a:cubicBezTo>
                  <a:cubicBezTo>
                    <a:pt x="405" y="186"/>
                    <a:pt x="405" y="186"/>
                    <a:pt x="405" y="186"/>
                  </a:cubicBezTo>
                  <a:cubicBezTo>
                    <a:pt x="410" y="210"/>
                    <a:pt x="410" y="210"/>
                    <a:pt x="410" y="210"/>
                  </a:cubicBezTo>
                  <a:cubicBezTo>
                    <a:pt x="416" y="202"/>
                    <a:pt x="416" y="202"/>
                    <a:pt x="416" y="202"/>
                  </a:cubicBezTo>
                  <a:cubicBezTo>
                    <a:pt x="418" y="201"/>
                    <a:pt x="418" y="201"/>
                    <a:pt x="418" y="201"/>
                  </a:cubicBezTo>
                  <a:cubicBezTo>
                    <a:pt x="420" y="196"/>
                    <a:pt x="420" y="196"/>
                    <a:pt x="420" y="196"/>
                  </a:cubicBezTo>
                  <a:cubicBezTo>
                    <a:pt x="422" y="193"/>
                    <a:pt x="422" y="193"/>
                    <a:pt x="422" y="193"/>
                  </a:cubicBezTo>
                  <a:cubicBezTo>
                    <a:pt x="426" y="191"/>
                    <a:pt x="426" y="191"/>
                    <a:pt x="426" y="191"/>
                  </a:cubicBezTo>
                  <a:cubicBezTo>
                    <a:pt x="426" y="186"/>
                    <a:pt x="426" y="186"/>
                    <a:pt x="426" y="186"/>
                  </a:cubicBezTo>
                  <a:cubicBezTo>
                    <a:pt x="427" y="184"/>
                    <a:pt x="427" y="184"/>
                    <a:pt x="427" y="184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5"/>
                    <a:pt x="429" y="175"/>
                    <a:pt x="429" y="175"/>
                  </a:cubicBezTo>
                  <a:cubicBezTo>
                    <a:pt x="426" y="174"/>
                    <a:pt x="426" y="174"/>
                    <a:pt x="426" y="174"/>
                  </a:cubicBezTo>
                  <a:cubicBezTo>
                    <a:pt x="430" y="165"/>
                    <a:pt x="430" y="165"/>
                    <a:pt x="430" y="165"/>
                  </a:cubicBezTo>
                  <a:cubicBezTo>
                    <a:pt x="432" y="162"/>
                    <a:pt x="432" y="162"/>
                    <a:pt x="432" y="162"/>
                  </a:cubicBezTo>
                  <a:cubicBezTo>
                    <a:pt x="435" y="161"/>
                    <a:pt x="435" y="161"/>
                    <a:pt x="435" y="161"/>
                  </a:cubicBezTo>
                  <a:cubicBezTo>
                    <a:pt x="438" y="160"/>
                    <a:pt x="438" y="160"/>
                    <a:pt x="438" y="160"/>
                  </a:cubicBezTo>
                  <a:cubicBezTo>
                    <a:pt x="439" y="162"/>
                    <a:pt x="439" y="162"/>
                    <a:pt x="439" y="162"/>
                  </a:cubicBezTo>
                  <a:cubicBezTo>
                    <a:pt x="446" y="157"/>
                    <a:pt x="446" y="157"/>
                    <a:pt x="446" y="157"/>
                  </a:cubicBezTo>
                  <a:cubicBezTo>
                    <a:pt x="446" y="157"/>
                    <a:pt x="452" y="162"/>
                    <a:pt x="452" y="162"/>
                  </a:cubicBezTo>
                  <a:cubicBezTo>
                    <a:pt x="453" y="162"/>
                    <a:pt x="454" y="157"/>
                    <a:pt x="454" y="157"/>
                  </a:cubicBezTo>
                  <a:cubicBezTo>
                    <a:pt x="457" y="156"/>
                    <a:pt x="457" y="156"/>
                    <a:pt x="457" y="156"/>
                  </a:cubicBezTo>
                  <a:cubicBezTo>
                    <a:pt x="457" y="156"/>
                    <a:pt x="463" y="150"/>
                    <a:pt x="464" y="149"/>
                  </a:cubicBezTo>
                  <a:cubicBezTo>
                    <a:pt x="464" y="149"/>
                    <a:pt x="472" y="145"/>
                    <a:pt x="472" y="145"/>
                  </a:cubicBezTo>
                  <a:cubicBezTo>
                    <a:pt x="473" y="145"/>
                    <a:pt x="476" y="145"/>
                    <a:pt x="476" y="145"/>
                  </a:cubicBezTo>
                  <a:cubicBezTo>
                    <a:pt x="480" y="146"/>
                    <a:pt x="480" y="146"/>
                    <a:pt x="480" y="146"/>
                  </a:cubicBezTo>
                  <a:cubicBezTo>
                    <a:pt x="480" y="144"/>
                    <a:pt x="480" y="144"/>
                    <a:pt x="480" y="144"/>
                  </a:cubicBezTo>
                  <a:cubicBezTo>
                    <a:pt x="479" y="140"/>
                    <a:pt x="479" y="140"/>
                    <a:pt x="479" y="140"/>
                  </a:cubicBezTo>
                  <a:cubicBezTo>
                    <a:pt x="478" y="135"/>
                    <a:pt x="478" y="135"/>
                    <a:pt x="478" y="135"/>
                  </a:cubicBezTo>
                  <a:cubicBezTo>
                    <a:pt x="474" y="131"/>
                    <a:pt x="474" y="131"/>
                    <a:pt x="474" y="131"/>
                  </a:cubicBezTo>
                  <a:cubicBezTo>
                    <a:pt x="477" y="129"/>
                    <a:pt x="477" y="129"/>
                    <a:pt x="477" y="129"/>
                  </a:cubicBezTo>
                  <a:lnTo>
                    <a:pt x="482" y="12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0" name="Freeform 338"/>
            <p:cNvSpPr>
              <a:spLocks/>
            </p:cNvSpPr>
            <p:nvPr/>
          </p:nvSpPr>
          <p:spPr bwMode="auto">
            <a:xfrm>
              <a:off x="5619301" y="2901202"/>
              <a:ext cx="931094" cy="673103"/>
            </a:xfrm>
            <a:custGeom>
              <a:avLst/>
              <a:gdLst>
                <a:gd name="T0" fmla="*/ 2147483646 w 129"/>
                <a:gd name="T1" fmla="*/ 2147483646 h 91"/>
                <a:gd name="T2" fmla="*/ 2147483646 w 129"/>
                <a:gd name="T3" fmla="*/ 2147483646 h 91"/>
                <a:gd name="T4" fmla="*/ 2147483646 w 129"/>
                <a:gd name="T5" fmla="*/ 2147483646 h 91"/>
                <a:gd name="T6" fmla="*/ 2147483646 w 129"/>
                <a:gd name="T7" fmla="*/ 2147483646 h 91"/>
                <a:gd name="T8" fmla="*/ 2147483646 w 129"/>
                <a:gd name="T9" fmla="*/ 2147483646 h 91"/>
                <a:gd name="T10" fmla="*/ 2147483646 w 129"/>
                <a:gd name="T11" fmla="*/ 2147483646 h 91"/>
                <a:gd name="T12" fmla="*/ 2147483646 w 129"/>
                <a:gd name="T13" fmla="*/ 2147483646 h 91"/>
                <a:gd name="T14" fmla="*/ 2147483646 w 129"/>
                <a:gd name="T15" fmla="*/ 2147483646 h 91"/>
                <a:gd name="T16" fmla="*/ 2147483646 w 129"/>
                <a:gd name="T17" fmla="*/ 2147483646 h 91"/>
                <a:gd name="T18" fmla="*/ 2147483646 w 129"/>
                <a:gd name="T19" fmla="*/ 2147483646 h 91"/>
                <a:gd name="T20" fmla="*/ 2147483646 w 129"/>
                <a:gd name="T21" fmla="*/ 2147483646 h 91"/>
                <a:gd name="T22" fmla="*/ 2147483646 w 129"/>
                <a:gd name="T23" fmla="*/ 2147483646 h 91"/>
                <a:gd name="T24" fmla="*/ 2147483646 w 129"/>
                <a:gd name="T25" fmla="*/ 2147483646 h 91"/>
                <a:gd name="T26" fmla="*/ 2147483646 w 129"/>
                <a:gd name="T27" fmla="*/ 2147483646 h 91"/>
                <a:gd name="T28" fmla="*/ 2147483646 w 129"/>
                <a:gd name="T29" fmla="*/ 2147483646 h 91"/>
                <a:gd name="T30" fmla="*/ 0 w 129"/>
                <a:gd name="T31" fmla="*/ 2147483646 h 91"/>
                <a:gd name="T32" fmla="*/ 2147483646 w 129"/>
                <a:gd name="T33" fmla="*/ 2147483646 h 91"/>
                <a:gd name="T34" fmla="*/ 2147483646 w 129"/>
                <a:gd name="T35" fmla="*/ 2147483646 h 91"/>
                <a:gd name="T36" fmla="*/ 2147483646 w 129"/>
                <a:gd name="T37" fmla="*/ 2147483646 h 91"/>
                <a:gd name="T38" fmla="*/ 2147483646 w 129"/>
                <a:gd name="T39" fmla="*/ 2147483646 h 91"/>
                <a:gd name="T40" fmla="*/ 2147483646 w 129"/>
                <a:gd name="T41" fmla="*/ 2147483646 h 91"/>
                <a:gd name="T42" fmla="*/ 2147483646 w 129"/>
                <a:gd name="T43" fmla="*/ 2147483646 h 91"/>
                <a:gd name="T44" fmla="*/ 2147483646 w 129"/>
                <a:gd name="T45" fmla="*/ 2147483646 h 91"/>
                <a:gd name="T46" fmla="*/ 2147483646 w 129"/>
                <a:gd name="T47" fmla="*/ 2147483646 h 91"/>
                <a:gd name="T48" fmla="*/ 2147483646 w 129"/>
                <a:gd name="T49" fmla="*/ 2147483646 h 91"/>
                <a:gd name="T50" fmla="*/ 2147483646 w 129"/>
                <a:gd name="T51" fmla="*/ 2147483646 h 91"/>
                <a:gd name="T52" fmla="*/ 2147483646 w 129"/>
                <a:gd name="T53" fmla="*/ 2147483646 h 91"/>
                <a:gd name="T54" fmla="*/ 2147483646 w 129"/>
                <a:gd name="T55" fmla="*/ 2147483646 h 91"/>
                <a:gd name="T56" fmla="*/ 2147483646 w 129"/>
                <a:gd name="T57" fmla="*/ 2147483646 h 91"/>
                <a:gd name="T58" fmla="*/ 2147483646 w 129"/>
                <a:gd name="T59" fmla="*/ 2147483646 h 91"/>
                <a:gd name="T60" fmla="*/ 2147483646 w 129"/>
                <a:gd name="T61" fmla="*/ 2147483646 h 91"/>
                <a:gd name="T62" fmla="*/ 2147483646 w 129"/>
                <a:gd name="T63" fmla="*/ 2147483646 h 91"/>
                <a:gd name="T64" fmla="*/ 2147483646 w 129"/>
                <a:gd name="T65" fmla="*/ 2147483646 h 91"/>
                <a:gd name="T66" fmla="*/ 2147483646 w 129"/>
                <a:gd name="T67" fmla="*/ 2147483646 h 91"/>
                <a:gd name="T68" fmla="*/ 2147483646 w 129"/>
                <a:gd name="T69" fmla="*/ 2147483646 h 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9" h="91">
                  <a:moveTo>
                    <a:pt x="89" y="79"/>
                  </a:moveTo>
                  <a:cubicBezTo>
                    <a:pt x="87" y="77"/>
                    <a:pt x="87" y="77"/>
                    <a:pt x="87" y="77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1" y="67"/>
                    <a:pt x="101" y="67"/>
                    <a:pt x="101" y="67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20" y="62"/>
                    <a:pt x="20" y="63"/>
                  </a:cubicBezTo>
                  <a:cubicBezTo>
                    <a:pt x="20" y="64"/>
                    <a:pt x="20" y="72"/>
                    <a:pt x="20" y="72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8" y="82"/>
                    <a:pt x="38" y="82"/>
                    <a:pt x="38" y="82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90" y="82"/>
                    <a:pt x="90" y="82"/>
                    <a:pt x="90" y="82"/>
                  </a:cubicBezTo>
                  <a:lnTo>
                    <a:pt x="89" y="7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1" name="Rectangle 340"/>
            <p:cNvSpPr>
              <a:spLocks noChangeArrowheads="1"/>
            </p:cNvSpPr>
            <p:nvPr/>
          </p:nvSpPr>
          <p:spPr bwMode="auto">
            <a:xfrm>
              <a:off x="4923538" y="3152674"/>
              <a:ext cx="8770" cy="150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15000"/>
                </a:spcBef>
                <a:buClr>
                  <a:srgbClr val="17588A"/>
                </a:buClr>
                <a:buFont typeface="Arial" panose="020B0604020202020204" pitchFamily="34" charset="0"/>
                <a:buChar char=" 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15000"/>
                </a:spcBef>
                <a:buClr>
                  <a:schemeClr val="tx1"/>
                </a:buClr>
                <a:buFont typeface="Wingdings" panose="05000000000000000000" pitchFamily="2" charset="2"/>
                <a:buChar char="ª"/>
                <a:defRPr sz="16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15000"/>
                </a:spcBef>
                <a:buClr>
                  <a:schemeClr val="tx1"/>
                </a:buClr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15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15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15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2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fontAlgn="base">
                <a:spcAft>
                  <a:spcPct val="0"/>
                </a:spcAft>
                <a:buClrTx/>
                <a:buFontTx/>
                <a:buNone/>
              </a:pPr>
              <a:endParaRPr lang="en-US" altLang="en-US" sz="1400" b="1">
                <a:solidFill>
                  <a:srgbClr val="FFFFFF"/>
                </a:solidFill>
              </a:endParaRPr>
            </a:p>
          </p:txBody>
        </p:sp>
        <p:sp>
          <p:nvSpPr>
            <p:cNvPr id="592" name="Freeform 347"/>
            <p:cNvSpPr>
              <a:spLocks/>
            </p:cNvSpPr>
            <p:nvPr/>
          </p:nvSpPr>
          <p:spPr bwMode="auto">
            <a:xfrm>
              <a:off x="4658972" y="2056436"/>
              <a:ext cx="597831" cy="727312"/>
            </a:xfrm>
            <a:custGeom>
              <a:avLst/>
              <a:gdLst>
                <a:gd name="T0" fmla="*/ 2147483646 w 83"/>
                <a:gd name="T1" fmla="*/ 2147483646 h 98"/>
                <a:gd name="T2" fmla="*/ 2147483646 w 83"/>
                <a:gd name="T3" fmla="*/ 2147483646 h 98"/>
                <a:gd name="T4" fmla="*/ 2147483646 w 83"/>
                <a:gd name="T5" fmla="*/ 2147483646 h 98"/>
                <a:gd name="T6" fmla="*/ 2147483646 w 83"/>
                <a:gd name="T7" fmla="*/ 2147483646 h 98"/>
                <a:gd name="T8" fmla="*/ 2147483646 w 83"/>
                <a:gd name="T9" fmla="*/ 2147483646 h 98"/>
                <a:gd name="T10" fmla="*/ 2147483646 w 83"/>
                <a:gd name="T11" fmla="*/ 2147483646 h 98"/>
                <a:gd name="T12" fmla="*/ 2147483646 w 83"/>
                <a:gd name="T13" fmla="*/ 2147483646 h 98"/>
                <a:gd name="T14" fmla="*/ 2147483646 w 83"/>
                <a:gd name="T15" fmla="*/ 2147483646 h 98"/>
                <a:gd name="T16" fmla="*/ 2147483646 w 83"/>
                <a:gd name="T17" fmla="*/ 2147483646 h 98"/>
                <a:gd name="T18" fmla="*/ 2147483646 w 83"/>
                <a:gd name="T19" fmla="*/ 2147483646 h 98"/>
                <a:gd name="T20" fmla="*/ 2147483646 w 83"/>
                <a:gd name="T21" fmla="*/ 2147483646 h 98"/>
                <a:gd name="T22" fmla="*/ 2147483646 w 83"/>
                <a:gd name="T23" fmla="*/ 2147483646 h 98"/>
                <a:gd name="T24" fmla="*/ 2147483646 w 83"/>
                <a:gd name="T25" fmla="*/ 2147483646 h 98"/>
                <a:gd name="T26" fmla="*/ 2147483646 w 83"/>
                <a:gd name="T27" fmla="*/ 2147483646 h 98"/>
                <a:gd name="T28" fmla="*/ 2147483646 w 83"/>
                <a:gd name="T29" fmla="*/ 2147483646 h 98"/>
                <a:gd name="T30" fmla="*/ 2147483646 w 83"/>
                <a:gd name="T31" fmla="*/ 2147483646 h 98"/>
                <a:gd name="T32" fmla="*/ 2147483646 w 83"/>
                <a:gd name="T33" fmla="*/ 2147483646 h 98"/>
                <a:gd name="T34" fmla="*/ 2147483646 w 83"/>
                <a:gd name="T35" fmla="*/ 2147483646 h 98"/>
                <a:gd name="T36" fmla="*/ 2147483646 w 83"/>
                <a:gd name="T37" fmla="*/ 2147483646 h 98"/>
                <a:gd name="T38" fmla="*/ 2147483646 w 83"/>
                <a:gd name="T39" fmla="*/ 2147483646 h 98"/>
                <a:gd name="T40" fmla="*/ 2147483646 w 83"/>
                <a:gd name="T41" fmla="*/ 2147483646 h 98"/>
                <a:gd name="T42" fmla="*/ 2147483646 w 83"/>
                <a:gd name="T43" fmla="*/ 2147483646 h 98"/>
                <a:gd name="T44" fmla="*/ 2147483646 w 83"/>
                <a:gd name="T45" fmla="*/ 2147483646 h 98"/>
                <a:gd name="T46" fmla="*/ 2147483646 w 83"/>
                <a:gd name="T47" fmla="*/ 2147483646 h 98"/>
                <a:gd name="T48" fmla="*/ 2147483646 w 83"/>
                <a:gd name="T49" fmla="*/ 2147483646 h 98"/>
                <a:gd name="T50" fmla="*/ 2147483646 w 83"/>
                <a:gd name="T51" fmla="*/ 0 h 98"/>
                <a:gd name="T52" fmla="*/ 2147483646 w 83"/>
                <a:gd name="T53" fmla="*/ 2147483646 h 98"/>
                <a:gd name="T54" fmla="*/ 2147483646 w 83"/>
                <a:gd name="T55" fmla="*/ 2147483646 h 98"/>
                <a:gd name="T56" fmla="*/ 2147483646 w 83"/>
                <a:gd name="T57" fmla="*/ 2147483646 h 98"/>
                <a:gd name="T58" fmla="*/ 2147483646 w 83"/>
                <a:gd name="T59" fmla="*/ 2147483646 h 98"/>
                <a:gd name="T60" fmla="*/ 2147483646 w 83"/>
                <a:gd name="T61" fmla="*/ 2147483646 h 98"/>
                <a:gd name="T62" fmla="*/ 2147483646 w 83"/>
                <a:gd name="T63" fmla="*/ 2147483646 h 98"/>
                <a:gd name="T64" fmla="*/ 2147483646 w 83"/>
                <a:gd name="T65" fmla="*/ 2147483646 h 98"/>
                <a:gd name="T66" fmla="*/ 2147483646 w 83"/>
                <a:gd name="T67" fmla="*/ 2147483646 h 98"/>
                <a:gd name="T68" fmla="*/ 2147483646 w 83"/>
                <a:gd name="T69" fmla="*/ 2147483646 h 98"/>
                <a:gd name="T70" fmla="*/ 2147483646 w 83"/>
                <a:gd name="T71" fmla="*/ 2147483646 h 98"/>
                <a:gd name="T72" fmla="*/ 2147483646 w 83"/>
                <a:gd name="T73" fmla="*/ 2147483646 h 98"/>
                <a:gd name="T74" fmla="*/ 2147483646 w 83"/>
                <a:gd name="T75" fmla="*/ 2147483646 h 98"/>
                <a:gd name="T76" fmla="*/ 2147483646 w 83"/>
                <a:gd name="T77" fmla="*/ 2147483646 h 98"/>
                <a:gd name="T78" fmla="*/ 2147483646 w 83"/>
                <a:gd name="T79" fmla="*/ 2147483646 h 98"/>
                <a:gd name="T80" fmla="*/ 2147483646 w 83"/>
                <a:gd name="T81" fmla="*/ 2147483646 h 98"/>
                <a:gd name="T82" fmla="*/ 2147483646 w 83"/>
                <a:gd name="T83" fmla="*/ 2147483646 h 98"/>
                <a:gd name="T84" fmla="*/ 2147483646 w 83"/>
                <a:gd name="T85" fmla="*/ 2147483646 h 98"/>
                <a:gd name="T86" fmla="*/ 2147483646 w 83"/>
                <a:gd name="T87" fmla="*/ 2147483646 h 98"/>
                <a:gd name="T88" fmla="*/ 2147483646 w 83"/>
                <a:gd name="T89" fmla="*/ 2147483646 h 98"/>
                <a:gd name="T90" fmla="*/ 2147483646 w 83"/>
                <a:gd name="T91" fmla="*/ 2147483646 h 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83" h="98">
                  <a:moveTo>
                    <a:pt x="23" y="87"/>
                  </a:moveTo>
                  <a:cubicBezTo>
                    <a:pt x="23" y="87"/>
                    <a:pt x="24" y="87"/>
                    <a:pt x="24" y="86"/>
                  </a:cubicBezTo>
                  <a:cubicBezTo>
                    <a:pt x="24" y="86"/>
                    <a:pt x="24" y="82"/>
                    <a:pt x="24" y="8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0"/>
                    <a:pt x="23" y="70"/>
                  </a:cubicBezTo>
                  <a:cubicBezTo>
                    <a:pt x="23" y="69"/>
                    <a:pt x="24" y="65"/>
                    <a:pt x="24" y="65"/>
                  </a:cubicBezTo>
                  <a:cubicBezTo>
                    <a:pt x="24" y="65"/>
                    <a:pt x="24" y="62"/>
                    <a:pt x="24" y="62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2"/>
                    <a:pt x="21" y="92"/>
                    <a:pt x="21" y="92"/>
                  </a:cubicBezTo>
                  <a:lnTo>
                    <a:pt x="23" y="8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3" name="Freeform 348"/>
            <p:cNvSpPr>
              <a:spLocks/>
            </p:cNvSpPr>
            <p:nvPr/>
          </p:nvSpPr>
          <p:spPr bwMode="auto">
            <a:xfrm>
              <a:off x="4802218" y="2197983"/>
              <a:ext cx="295261" cy="695690"/>
            </a:xfrm>
            <a:custGeom>
              <a:avLst/>
              <a:gdLst>
                <a:gd name="T0" fmla="*/ 2147483646 w 10000"/>
                <a:gd name="T1" fmla="*/ 2147483646 h 9895"/>
                <a:gd name="T2" fmla="*/ 2147483646 w 10000"/>
                <a:gd name="T3" fmla="*/ 2147483646 h 9895"/>
                <a:gd name="T4" fmla="*/ 2147483646 w 10000"/>
                <a:gd name="T5" fmla="*/ 2147483646 h 9895"/>
                <a:gd name="T6" fmla="*/ 2147483646 w 10000"/>
                <a:gd name="T7" fmla="*/ 2147483646 h 9895"/>
                <a:gd name="T8" fmla="*/ 2147483646 w 10000"/>
                <a:gd name="T9" fmla="*/ 0 h 9895"/>
                <a:gd name="T10" fmla="*/ 2147483646 w 10000"/>
                <a:gd name="T11" fmla="*/ 2147483646 h 9895"/>
                <a:gd name="T12" fmla="*/ 2147483646 w 10000"/>
                <a:gd name="T13" fmla="*/ 2147483646 h 9895"/>
                <a:gd name="T14" fmla="*/ 2147483646 w 10000"/>
                <a:gd name="T15" fmla="*/ 2147483646 h 9895"/>
                <a:gd name="T16" fmla="*/ 2147483646 w 10000"/>
                <a:gd name="T17" fmla="*/ 2147483646 h 9895"/>
                <a:gd name="T18" fmla="*/ 2147483646 w 10000"/>
                <a:gd name="T19" fmla="*/ 2147483646 h 9895"/>
                <a:gd name="T20" fmla="*/ 2147483646 w 10000"/>
                <a:gd name="T21" fmla="*/ 2147483646 h 9895"/>
                <a:gd name="T22" fmla="*/ 2147483646 w 10000"/>
                <a:gd name="T23" fmla="*/ 2147483646 h 9895"/>
                <a:gd name="T24" fmla="*/ 2147483646 w 10000"/>
                <a:gd name="T25" fmla="*/ 2147483646 h 9895"/>
                <a:gd name="T26" fmla="*/ 2147483646 w 10000"/>
                <a:gd name="T27" fmla="*/ 2147483646 h 9895"/>
                <a:gd name="T28" fmla="*/ 2147483646 w 10000"/>
                <a:gd name="T29" fmla="*/ 2147483646 h 9895"/>
                <a:gd name="T30" fmla="*/ 2147483646 w 10000"/>
                <a:gd name="T31" fmla="*/ 2147483646 h 9895"/>
                <a:gd name="T32" fmla="*/ 2147483646 w 10000"/>
                <a:gd name="T33" fmla="*/ 2147483646 h 9895"/>
                <a:gd name="T34" fmla="*/ 2147483646 w 10000"/>
                <a:gd name="T35" fmla="*/ 2147483646 h 9895"/>
                <a:gd name="T36" fmla="*/ 2147483646 w 10000"/>
                <a:gd name="T37" fmla="*/ 2147483646 h 9895"/>
                <a:gd name="T38" fmla="*/ 2147483646 w 10000"/>
                <a:gd name="T39" fmla="*/ 2147483646 h 9895"/>
                <a:gd name="T40" fmla="*/ 2147483646 w 10000"/>
                <a:gd name="T41" fmla="*/ 2147483646 h 9895"/>
                <a:gd name="T42" fmla="*/ 2147483646 w 10000"/>
                <a:gd name="T43" fmla="*/ 2147483646 h 9895"/>
                <a:gd name="T44" fmla="*/ 2147483646 w 10000"/>
                <a:gd name="T45" fmla="*/ 2147483646 h 9895"/>
                <a:gd name="T46" fmla="*/ 2147483646 w 10000"/>
                <a:gd name="T47" fmla="*/ 2147483646 h 9895"/>
                <a:gd name="T48" fmla="*/ 2147483646 w 10000"/>
                <a:gd name="T49" fmla="*/ 2147483646 h 9895"/>
                <a:gd name="T50" fmla="*/ 2147483646 w 10000"/>
                <a:gd name="T51" fmla="*/ 2147483646 h 9895"/>
                <a:gd name="T52" fmla="*/ 2147483646 w 10000"/>
                <a:gd name="T53" fmla="*/ 2147483646 h 9895"/>
                <a:gd name="T54" fmla="*/ 2147483646 w 10000"/>
                <a:gd name="T55" fmla="*/ 2147483646 h 9895"/>
                <a:gd name="T56" fmla="*/ 2147483646 w 10000"/>
                <a:gd name="T57" fmla="*/ 2147483646 h 9895"/>
                <a:gd name="T58" fmla="*/ 2147483646 w 10000"/>
                <a:gd name="T59" fmla="*/ 2147483646 h 9895"/>
                <a:gd name="T60" fmla="*/ 2147483646 w 10000"/>
                <a:gd name="T61" fmla="*/ 2147483646 h 9895"/>
                <a:gd name="T62" fmla="*/ 2147483646 w 10000"/>
                <a:gd name="T63" fmla="*/ 2147483646 h 9895"/>
                <a:gd name="T64" fmla="*/ 2147483646 w 10000"/>
                <a:gd name="T65" fmla="*/ 2147483646 h 9895"/>
                <a:gd name="T66" fmla="*/ 2147483646 w 10000"/>
                <a:gd name="T67" fmla="*/ 2147483646 h 98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000" h="9895">
                  <a:moveTo>
                    <a:pt x="10000" y="2316"/>
                  </a:moveTo>
                  <a:lnTo>
                    <a:pt x="10000" y="2211"/>
                  </a:lnTo>
                  <a:lnTo>
                    <a:pt x="9756" y="1895"/>
                  </a:lnTo>
                  <a:lnTo>
                    <a:pt x="9756" y="1579"/>
                  </a:lnTo>
                  <a:lnTo>
                    <a:pt x="9756" y="1158"/>
                  </a:lnTo>
                  <a:lnTo>
                    <a:pt x="9268" y="632"/>
                  </a:lnTo>
                  <a:lnTo>
                    <a:pt x="9024" y="632"/>
                  </a:lnTo>
                  <a:lnTo>
                    <a:pt x="8537" y="526"/>
                  </a:lnTo>
                  <a:lnTo>
                    <a:pt x="7805" y="211"/>
                  </a:lnTo>
                  <a:lnTo>
                    <a:pt x="7561" y="0"/>
                  </a:lnTo>
                  <a:lnTo>
                    <a:pt x="7317" y="0"/>
                  </a:lnTo>
                  <a:lnTo>
                    <a:pt x="7073" y="316"/>
                  </a:lnTo>
                  <a:lnTo>
                    <a:pt x="7073" y="526"/>
                  </a:lnTo>
                  <a:lnTo>
                    <a:pt x="6585" y="526"/>
                  </a:lnTo>
                  <a:lnTo>
                    <a:pt x="5854" y="526"/>
                  </a:lnTo>
                  <a:lnTo>
                    <a:pt x="5366" y="947"/>
                  </a:lnTo>
                  <a:lnTo>
                    <a:pt x="5122" y="947"/>
                  </a:lnTo>
                  <a:lnTo>
                    <a:pt x="4390" y="1158"/>
                  </a:lnTo>
                  <a:lnTo>
                    <a:pt x="4146" y="1368"/>
                  </a:lnTo>
                  <a:lnTo>
                    <a:pt x="4390" y="1684"/>
                  </a:lnTo>
                  <a:lnTo>
                    <a:pt x="3902" y="2000"/>
                  </a:lnTo>
                  <a:lnTo>
                    <a:pt x="3415" y="2526"/>
                  </a:lnTo>
                  <a:lnTo>
                    <a:pt x="2927" y="2632"/>
                  </a:lnTo>
                  <a:lnTo>
                    <a:pt x="2683" y="3263"/>
                  </a:lnTo>
                  <a:lnTo>
                    <a:pt x="2195" y="3684"/>
                  </a:lnTo>
                  <a:lnTo>
                    <a:pt x="2439" y="3895"/>
                  </a:lnTo>
                  <a:lnTo>
                    <a:pt x="2439" y="4211"/>
                  </a:lnTo>
                  <a:lnTo>
                    <a:pt x="1463" y="4316"/>
                  </a:lnTo>
                  <a:lnTo>
                    <a:pt x="976" y="4526"/>
                  </a:lnTo>
                  <a:lnTo>
                    <a:pt x="976" y="4842"/>
                  </a:lnTo>
                  <a:cubicBezTo>
                    <a:pt x="976" y="4842"/>
                    <a:pt x="732" y="5263"/>
                    <a:pt x="732" y="5368"/>
                  </a:cubicBezTo>
                  <a:cubicBezTo>
                    <a:pt x="813" y="5544"/>
                    <a:pt x="895" y="5719"/>
                    <a:pt x="976" y="5895"/>
                  </a:cubicBezTo>
                  <a:lnTo>
                    <a:pt x="1463" y="6211"/>
                  </a:lnTo>
                  <a:lnTo>
                    <a:pt x="976" y="6421"/>
                  </a:lnTo>
                  <a:lnTo>
                    <a:pt x="976" y="6632"/>
                  </a:lnTo>
                  <a:lnTo>
                    <a:pt x="976" y="7053"/>
                  </a:lnTo>
                  <a:cubicBezTo>
                    <a:pt x="976" y="7158"/>
                    <a:pt x="732" y="7158"/>
                    <a:pt x="732" y="7158"/>
                  </a:cubicBezTo>
                  <a:lnTo>
                    <a:pt x="244" y="7684"/>
                  </a:lnTo>
                  <a:lnTo>
                    <a:pt x="0" y="7789"/>
                  </a:lnTo>
                  <a:cubicBezTo>
                    <a:pt x="488" y="8316"/>
                    <a:pt x="329" y="8217"/>
                    <a:pt x="488" y="8316"/>
                  </a:cubicBezTo>
                  <a:cubicBezTo>
                    <a:pt x="647" y="8415"/>
                    <a:pt x="746" y="8264"/>
                    <a:pt x="955" y="8384"/>
                  </a:cubicBezTo>
                  <a:cubicBezTo>
                    <a:pt x="1164" y="8504"/>
                    <a:pt x="1597" y="8867"/>
                    <a:pt x="1740" y="9038"/>
                  </a:cubicBezTo>
                  <a:cubicBezTo>
                    <a:pt x="1883" y="9209"/>
                    <a:pt x="1786" y="9301"/>
                    <a:pt x="1814" y="9410"/>
                  </a:cubicBezTo>
                  <a:cubicBezTo>
                    <a:pt x="1842" y="9519"/>
                    <a:pt x="1865" y="9637"/>
                    <a:pt x="1909" y="9693"/>
                  </a:cubicBezTo>
                  <a:cubicBezTo>
                    <a:pt x="1953" y="9749"/>
                    <a:pt x="1990" y="9709"/>
                    <a:pt x="2078" y="9743"/>
                  </a:cubicBezTo>
                  <a:cubicBezTo>
                    <a:pt x="2166" y="9777"/>
                    <a:pt x="2338" y="9905"/>
                    <a:pt x="2439" y="9895"/>
                  </a:cubicBezTo>
                  <a:cubicBezTo>
                    <a:pt x="2540" y="9885"/>
                    <a:pt x="2602" y="9754"/>
                    <a:pt x="2683" y="9684"/>
                  </a:cubicBezTo>
                  <a:lnTo>
                    <a:pt x="3171" y="9474"/>
                  </a:lnTo>
                  <a:lnTo>
                    <a:pt x="3902" y="9474"/>
                  </a:lnTo>
                  <a:lnTo>
                    <a:pt x="4390" y="9053"/>
                  </a:lnTo>
                  <a:cubicBezTo>
                    <a:pt x="4471" y="8807"/>
                    <a:pt x="4553" y="8562"/>
                    <a:pt x="4634" y="8316"/>
                  </a:cubicBezTo>
                  <a:lnTo>
                    <a:pt x="4634" y="7895"/>
                  </a:lnTo>
                  <a:lnTo>
                    <a:pt x="5122" y="7789"/>
                  </a:lnTo>
                  <a:lnTo>
                    <a:pt x="5854" y="7684"/>
                  </a:lnTo>
                  <a:lnTo>
                    <a:pt x="5854" y="7158"/>
                  </a:lnTo>
                  <a:lnTo>
                    <a:pt x="5610" y="6842"/>
                  </a:lnTo>
                  <a:lnTo>
                    <a:pt x="4878" y="6632"/>
                  </a:lnTo>
                  <a:cubicBezTo>
                    <a:pt x="4959" y="6386"/>
                    <a:pt x="5041" y="6141"/>
                    <a:pt x="5122" y="5895"/>
                  </a:cubicBezTo>
                  <a:lnTo>
                    <a:pt x="5122" y="5368"/>
                  </a:lnTo>
                  <a:lnTo>
                    <a:pt x="5854" y="4842"/>
                  </a:lnTo>
                  <a:lnTo>
                    <a:pt x="6585" y="4632"/>
                  </a:lnTo>
                  <a:lnTo>
                    <a:pt x="8049" y="4211"/>
                  </a:lnTo>
                  <a:lnTo>
                    <a:pt x="8293" y="3895"/>
                  </a:lnTo>
                  <a:lnTo>
                    <a:pt x="8049" y="3579"/>
                  </a:lnTo>
                  <a:lnTo>
                    <a:pt x="8537" y="3263"/>
                  </a:lnTo>
                  <a:lnTo>
                    <a:pt x="9268" y="2842"/>
                  </a:lnTo>
                  <a:lnTo>
                    <a:pt x="10000" y="2947"/>
                  </a:lnTo>
                  <a:lnTo>
                    <a:pt x="10000" y="2842"/>
                  </a:lnTo>
                  <a:lnTo>
                    <a:pt x="10000" y="231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4" name="Freeform 349"/>
            <p:cNvSpPr>
              <a:spLocks/>
            </p:cNvSpPr>
            <p:nvPr/>
          </p:nvSpPr>
          <p:spPr bwMode="auto">
            <a:xfrm>
              <a:off x="5055090" y="3020162"/>
              <a:ext cx="410734" cy="272553"/>
            </a:xfrm>
            <a:custGeom>
              <a:avLst/>
              <a:gdLst>
                <a:gd name="T0" fmla="*/ 2147483646 w 57"/>
                <a:gd name="T1" fmla="*/ 2147483646 h 37"/>
                <a:gd name="T2" fmla="*/ 2147483646 w 57"/>
                <a:gd name="T3" fmla="*/ 2147483646 h 37"/>
                <a:gd name="T4" fmla="*/ 2147483646 w 57"/>
                <a:gd name="T5" fmla="*/ 2147483646 h 37"/>
                <a:gd name="T6" fmla="*/ 2147483646 w 57"/>
                <a:gd name="T7" fmla="*/ 2147483646 h 37"/>
                <a:gd name="T8" fmla="*/ 2147483646 w 57"/>
                <a:gd name="T9" fmla="*/ 2147483646 h 37"/>
                <a:gd name="T10" fmla="*/ 2147483646 w 57"/>
                <a:gd name="T11" fmla="*/ 2147483646 h 37"/>
                <a:gd name="T12" fmla="*/ 2147483646 w 57"/>
                <a:gd name="T13" fmla="*/ 2147483646 h 37"/>
                <a:gd name="T14" fmla="*/ 2147483646 w 57"/>
                <a:gd name="T15" fmla="*/ 2147483646 h 37"/>
                <a:gd name="T16" fmla="*/ 2147483646 w 57"/>
                <a:gd name="T17" fmla="*/ 2147483646 h 37"/>
                <a:gd name="T18" fmla="*/ 2147483646 w 57"/>
                <a:gd name="T19" fmla="*/ 2147483646 h 37"/>
                <a:gd name="T20" fmla="*/ 2147483646 w 57"/>
                <a:gd name="T21" fmla="*/ 2147483646 h 37"/>
                <a:gd name="T22" fmla="*/ 2147483646 w 57"/>
                <a:gd name="T23" fmla="*/ 0 h 37"/>
                <a:gd name="T24" fmla="*/ 2147483646 w 57"/>
                <a:gd name="T25" fmla="*/ 0 h 37"/>
                <a:gd name="T26" fmla="*/ 2147483646 w 57"/>
                <a:gd name="T27" fmla="*/ 2147483646 h 37"/>
                <a:gd name="T28" fmla="*/ 2147483646 w 57"/>
                <a:gd name="T29" fmla="*/ 2147483646 h 37"/>
                <a:gd name="T30" fmla="*/ 2147483646 w 57"/>
                <a:gd name="T31" fmla="*/ 2147483646 h 37"/>
                <a:gd name="T32" fmla="*/ 2147483646 w 57"/>
                <a:gd name="T33" fmla="*/ 2147483646 h 37"/>
                <a:gd name="T34" fmla="*/ 2147483646 w 57"/>
                <a:gd name="T35" fmla="*/ 2147483646 h 37"/>
                <a:gd name="T36" fmla="*/ 2147483646 w 57"/>
                <a:gd name="T37" fmla="*/ 2147483646 h 37"/>
                <a:gd name="T38" fmla="*/ 2147483646 w 57"/>
                <a:gd name="T39" fmla="*/ 2147483646 h 37"/>
                <a:gd name="T40" fmla="*/ 2147483646 w 57"/>
                <a:gd name="T41" fmla="*/ 2147483646 h 37"/>
                <a:gd name="T42" fmla="*/ 2147483646 w 57"/>
                <a:gd name="T43" fmla="*/ 2147483646 h 37"/>
                <a:gd name="T44" fmla="*/ 0 w 57"/>
                <a:gd name="T45" fmla="*/ 2147483646 h 37"/>
                <a:gd name="T46" fmla="*/ 0 w 57"/>
                <a:gd name="T47" fmla="*/ 2147483646 h 37"/>
                <a:gd name="T48" fmla="*/ 2147483646 w 57"/>
                <a:gd name="T49" fmla="*/ 2147483646 h 37"/>
                <a:gd name="T50" fmla="*/ 2147483646 w 57"/>
                <a:gd name="T51" fmla="*/ 2147483646 h 37"/>
                <a:gd name="T52" fmla="*/ 2147483646 w 57"/>
                <a:gd name="T53" fmla="*/ 2147483646 h 37"/>
                <a:gd name="T54" fmla="*/ 2147483646 w 57"/>
                <a:gd name="T55" fmla="*/ 2147483646 h 37"/>
                <a:gd name="T56" fmla="*/ 2147483646 w 57"/>
                <a:gd name="T57" fmla="*/ 2147483646 h 37"/>
                <a:gd name="T58" fmla="*/ 2147483646 w 57"/>
                <a:gd name="T59" fmla="*/ 2147483646 h 37"/>
                <a:gd name="T60" fmla="*/ 2147483646 w 57"/>
                <a:gd name="T61" fmla="*/ 2147483646 h 37"/>
                <a:gd name="T62" fmla="*/ 2147483646 w 57"/>
                <a:gd name="T63" fmla="*/ 2147483646 h 37"/>
                <a:gd name="T64" fmla="*/ 2147483646 w 57"/>
                <a:gd name="T65" fmla="*/ 2147483646 h 37"/>
                <a:gd name="T66" fmla="*/ 2147483646 w 57"/>
                <a:gd name="T67" fmla="*/ 2147483646 h 37"/>
                <a:gd name="T68" fmla="*/ 2147483646 w 57"/>
                <a:gd name="T69" fmla="*/ 2147483646 h 37"/>
                <a:gd name="T70" fmla="*/ 2147483646 w 57"/>
                <a:gd name="T71" fmla="*/ 2147483646 h 37"/>
                <a:gd name="T72" fmla="*/ 2147483646 w 57"/>
                <a:gd name="T73" fmla="*/ 2147483646 h 37"/>
                <a:gd name="T74" fmla="*/ 2147483646 w 57"/>
                <a:gd name="T75" fmla="*/ 2147483646 h 37"/>
                <a:gd name="T76" fmla="*/ 2147483646 w 57"/>
                <a:gd name="T77" fmla="*/ 2147483646 h 37"/>
                <a:gd name="T78" fmla="*/ 2147483646 w 57"/>
                <a:gd name="T79" fmla="*/ 2147483646 h 37"/>
                <a:gd name="T80" fmla="*/ 2147483646 w 57"/>
                <a:gd name="T81" fmla="*/ 2147483646 h 37"/>
                <a:gd name="T82" fmla="*/ 2147483646 w 57"/>
                <a:gd name="T83" fmla="*/ 2147483646 h 37"/>
                <a:gd name="T84" fmla="*/ 2147483646 w 57"/>
                <a:gd name="T85" fmla="*/ 2147483646 h 37"/>
                <a:gd name="T86" fmla="*/ 2147483646 w 57"/>
                <a:gd name="T87" fmla="*/ 2147483646 h 37"/>
                <a:gd name="T88" fmla="*/ 2147483646 w 57"/>
                <a:gd name="T89" fmla="*/ 2147483646 h 37"/>
                <a:gd name="T90" fmla="*/ 2147483646 w 57"/>
                <a:gd name="T91" fmla="*/ 2147483646 h 3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7" h="37">
                  <a:moveTo>
                    <a:pt x="54" y="22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6" y="26"/>
                    <a:pt x="25" y="28"/>
                  </a:cubicBezTo>
                  <a:cubicBezTo>
                    <a:pt x="25" y="29"/>
                    <a:pt x="22" y="30"/>
                    <a:pt x="22" y="30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5"/>
                    <a:pt x="51" y="25"/>
                    <a:pt x="51" y="25"/>
                  </a:cubicBezTo>
                  <a:lnTo>
                    <a:pt x="54" y="2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5" name="Freeform 350"/>
            <p:cNvSpPr>
              <a:spLocks/>
            </p:cNvSpPr>
            <p:nvPr/>
          </p:nvSpPr>
          <p:spPr bwMode="auto">
            <a:xfrm>
              <a:off x="5291884" y="3020162"/>
              <a:ext cx="51159" cy="28610"/>
            </a:xfrm>
            <a:custGeom>
              <a:avLst/>
              <a:gdLst>
                <a:gd name="T0" fmla="*/ 2147483646 w 42"/>
                <a:gd name="T1" fmla="*/ 2147483646 h 24"/>
                <a:gd name="T2" fmla="*/ 2147483646 w 42"/>
                <a:gd name="T3" fmla="*/ 0 h 24"/>
                <a:gd name="T4" fmla="*/ 0 w 42"/>
                <a:gd name="T5" fmla="*/ 2147483646 h 24"/>
                <a:gd name="T6" fmla="*/ 2147483646 w 42"/>
                <a:gd name="T7" fmla="*/ 2147483646 h 24"/>
                <a:gd name="T8" fmla="*/ 2147483646 w 42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2" h="24">
                  <a:moveTo>
                    <a:pt x="36" y="24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42" y="24"/>
                  </a:lnTo>
                  <a:lnTo>
                    <a:pt x="36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6" name="Freeform 359"/>
            <p:cNvSpPr>
              <a:spLocks/>
            </p:cNvSpPr>
            <p:nvPr/>
          </p:nvSpPr>
          <p:spPr bwMode="auto">
            <a:xfrm>
              <a:off x="5003931" y="2901202"/>
              <a:ext cx="71623" cy="45175"/>
            </a:xfrm>
            <a:custGeom>
              <a:avLst/>
              <a:gdLst>
                <a:gd name="T0" fmla="*/ 2147483646 w 60"/>
                <a:gd name="T1" fmla="*/ 2147483646 h 36"/>
                <a:gd name="T2" fmla="*/ 2147483646 w 60"/>
                <a:gd name="T3" fmla="*/ 2147483646 h 36"/>
                <a:gd name="T4" fmla="*/ 2147483646 w 60"/>
                <a:gd name="T5" fmla="*/ 2147483646 h 36"/>
                <a:gd name="T6" fmla="*/ 2147483646 w 60"/>
                <a:gd name="T7" fmla="*/ 2147483646 h 36"/>
                <a:gd name="T8" fmla="*/ 2147483646 w 60"/>
                <a:gd name="T9" fmla="*/ 0 h 36"/>
                <a:gd name="T10" fmla="*/ 2147483646 w 60"/>
                <a:gd name="T11" fmla="*/ 0 h 36"/>
                <a:gd name="T12" fmla="*/ 2147483646 w 60"/>
                <a:gd name="T13" fmla="*/ 2147483646 h 36"/>
                <a:gd name="T14" fmla="*/ 0 w 60"/>
                <a:gd name="T15" fmla="*/ 2147483646 h 36"/>
                <a:gd name="T16" fmla="*/ 2147483646 w 60"/>
                <a:gd name="T17" fmla="*/ 2147483646 h 36"/>
                <a:gd name="T18" fmla="*/ 2147483646 w 60"/>
                <a:gd name="T19" fmla="*/ 2147483646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7" name="Freeform 360"/>
            <p:cNvSpPr>
              <a:spLocks/>
            </p:cNvSpPr>
            <p:nvPr/>
          </p:nvSpPr>
          <p:spPr bwMode="auto">
            <a:xfrm>
              <a:off x="4873841" y="2923789"/>
              <a:ext cx="223638" cy="206297"/>
            </a:xfrm>
            <a:custGeom>
              <a:avLst/>
              <a:gdLst>
                <a:gd name="T0" fmla="*/ 2147483646 w 31"/>
                <a:gd name="T1" fmla="*/ 2147483646 h 28"/>
                <a:gd name="T2" fmla="*/ 2147483646 w 31"/>
                <a:gd name="T3" fmla="*/ 2147483646 h 28"/>
                <a:gd name="T4" fmla="*/ 2147483646 w 31"/>
                <a:gd name="T5" fmla="*/ 2147483646 h 28"/>
                <a:gd name="T6" fmla="*/ 2147483646 w 31"/>
                <a:gd name="T7" fmla="*/ 2147483646 h 28"/>
                <a:gd name="T8" fmla="*/ 2147483646 w 31"/>
                <a:gd name="T9" fmla="*/ 2147483646 h 28"/>
                <a:gd name="T10" fmla="*/ 2147483646 w 31"/>
                <a:gd name="T11" fmla="*/ 2147483646 h 28"/>
                <a:gd name="T12" fmla="*/ 2147483646 w 31"/>
                <a:gd name="T13" fmla="*/ 2147483646 h 28"/>
                <a:gd name="T14" fmla="*/ 2147483646 w 31"/>
                <a:gd name="T15" fmla="*/ 2147483646 h 28"/>
                <a:gd name="T16" fmla="*/ 2147483646 w 31"/>
                <a:gd name="T17" fmla="*/ 2147483646 h 28"/>
                <a:gd name="T18" fmla="*/ 2147483646 w 31"/>
                <a:gd name="T19" fmla="*/ 2147483646 h 28"/>
                <a:gd name="T20" fmla="*/ 2147483646 w 31"/>
                <a:gd name="T21" fmla="*/ 2147483646 h 28"/>
                <a:gd name="T22" fmla="*/ 2147483646 w 31"/>
                <a:gd name="T23" fmla="*/ 2147483646 h 28"/>
                <a:gd name="T24" fmla="*/ 2147483646 w 31"/>
                <a:gd name="T25" fmla="*/ 2147483646 h 28"/>
                <a:gd name="T26" fmla="*/ 2147483646 w 31"/>
                <a:gd name="T27" fmla="*/ 2147483646 h 28"/>
                <a:gd name="T28" fmla="*/ 2147483646 w 31"/>
                <a:gd name="T29" fmla="*/ 2147483646 h 28"/>
                <a:gd name="T30" fmla="*/ 2147483646 w 31"/>
                <a:gd name="T31" fmla="*/ 2147483646 h 28"/>
                <a:gd name="T32" fmla="*/ 2147483646 w 31"/>
                <a:gd name="T33" fmla="*/ 2147483646 h 28"/>
                <a:gd name="T34" fmla="*/ 2147483646 w 31"/>
                <a:gd name="T35" fmla="*/ 2147483646 h 28"/>
                <a:gd name="T36" fmla="*/ 2147483646 w 31"/>
                <a:gd name="T37" fmla="*/ 2147483646 h 28"/>
                <a:gd name="T38" fmla="*/ 2147483646 w 31"/>
                <a:gd name="T39" fmla="*/ 2147483646 h 28"/>
                <a:gd name="T40" fmla="*/ 2147483646 w 31"/>
                <a:gd name="T41" fmla="*/ 2147483646 h 28"/>
                <a:gd name="T42" fmla="*/ 2147483646 w 31"/>
                <a:gd name="T43" fmla="*/ 2147483646 h 28"/>
                <a:gd name="T44" fmla="*/ 2147483646 w 31"/>
                <a:gd name="T45" fmla="*/ 2147483646 h 28"/>
                <a:gd name="T46" fmla="*/ 2147483646 w 31"/>
                <a:gd name="T47" fmla="*/ 0 h 28"/>
                <a:gd name="T48" fmla="*/ 2147483646 w 31"/>
                <a:gd name="T49" fmla="*/ 2147483646 h 28"/>
                <a:gd name="T50" fmla="*/ 2147483646 w 31"/>
                <a:gd name="T51" fmla="*/ 2147483646 h 28"/>
                <a:gd name="T52" fmla="*/ 2147483646 w 31"/>
                <a:gd name="T53" fmla="*/ 0 h 28"/>
                <a:gd name="T54" fmla="*/ 2147483646 w 31"/>
                <a:gd name="T55" fmla="*/ 0 h 28"/>
                <a:gd name="T56" fmla="*/ 2147483646 w 31"/>
                <a:gd name="T57" fmla="*/ 2147483646 h 28"/>
                <a:gd name="T58" fmla="*/ 2147483646 w 31"/>
                <a:gd name="T59" fmla="*/ 2147483646 h 28"/>
                <a:gd name="T60" fmla="*/ 0 w 31"/>
                <a:gd name="T61" fmla="*/ 2147483646 h 28"/>
                <a:gd name="T62" fmla="*/ 0 w 31"/>
                <a:gd name="T63" fmla="*/ 2147483646 h 28"/>
                <a:gd name="T64" fmla="*/ 2147483646 w 31"/>
                <a:gd name="T65" fmla="*/ 2147483646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1" h="28">
                  <a:moveTo>
                    <a:pt x="1" y="9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7"/>
                    <a:pt x="2" y="17"/>
                  </a:cubicBezTo>
                  <a:cubicBezTo>
                    <a:pt x="2" y="17"/>
                    <a:pt x="2" y="19"/>
                    <a:pt x="2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5" y="1"/>
                    <a:pt x="15" y="1"/>
                  </a:cubicBezTo>
                  <a:cubicBezTo>
                    <a:pt x="14" y="1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1" y="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8" name="Freeform 364"/>
            <p:cNvSpPr>
              <a:spLocks/>
            </p:cNvSpPr>
            <p:nvPr/>
          </p:nvSpPr>
          <p:spPr bwMode="auto">
            <a:xfrm>
              <a:off x="4555193" y="3893539"/>
              <a:ext cx="362498" cy="275565"/>
            </a:xfrm>
            <a:custGeom>
              <a:avLst/>
              <a:gdLst>
                <a:gd name="T0" fmla="*/ 2147483646 w 300"/>
                <a:gd name="T1" fmla="*/ 2147483646 h 223"/>
                <a:gd name="T2" fmla="*/ 2147483646 w 300"/>
                <a:gd name="T3" fmla="*/ 2147483646 h 223"/>
                <a:gd name="T4" fmla="*/ 2147483646 w 300"/>
                <a:gd name="T5" fmla="*/ 2147483646 h 223"/>
                <a:gd name="T6" fmla="*/ 2147483646 w 300"/>
                <a:gd name="T7" fmla="*/ 2147483646 h 223"/>
                <a:gd name="T8" fmla="*/ 2147483646 w 300"/>
                <a:gd name="T9" fmla="*/ 2147483646 h 223"/>
                <a:gd name="T10" fmla="*/ 2147483646 w 300"/>
                <a:gd name="T11" fmla="*/ 2147483646 h 223"/>
                <a:gd name="T12" fmla="*/ 2147483646 w 300"/>
                <a:gd name="T13" fmla="*/ 2147483646 h 223"/>
                <a:gd name="T14" fmla="*/ 2147483646 w 300"/>
                <a:gd name="T15" fmla="*/ 2147483646 h 223"/>
                <a:gd name="T16" fmla="*/ 2147483646 w 300"/>
                <a:gd name="T17" fmla="*/ 2147483646 h 223"/>
                <a:gd name="T18" fmla="*/ 2147483646 w 300"/>
                <a:gd name="T19" fmla="*/ 2147483646 h 223"/>
                <a:gd name="T20" fmla="*/ 2147483646 w 300"/>
                <a:gd name="T21" fmla="*/ 2147483646 h 223"/>
                <a:gd name="T22" fmla="*/ 2147483646 w 300"/>
                <a:gd name="T23" fmla="*/ 2147483646 h 223"/>
                <a:gd name="T24" fmla="*/ 2147483646 w 300"/>
                <a:gd name="T25" fmla="*/ 2147483646 h 223"/>
                <a:gd name="T26" fmla="*/ 2147483646 w 300"/>
                <a:gd name="T27" fmla="*/ 2147483646 h 223"/>
                <a:gd name="T28" fmla="*/ 2147483646 w 300"/>
                <a:gd name="T29" fmla="*/ 2147483646 h 223"/>
                <a:gd name="T30" fmla="*/ 2147483646 w 300"/>
                <a:gd name="T31" fmla="*/ 0 h 223"/>
                <a:gd name="T32" fmla="*/ 2147483646 w 300"/>
                <a:gd name="T33" fmla="*/ 2147483646 h 223"/>
                <a:gd name="T34" fmla="*/ 2147483646 w 300"/>
                <a:gd name="T35" fmla="*/ 2147483646 h 223"/>
                <a:gd name="T36" fmla="*/ 2147483646 w 300"/>
                <a:gd name="T37" fmla="*/ 2147483646 h 223"/>
                <a:gd name="T38" fmla="*/ 2147483646 w 300"/>
                <a:gd name="T39" fmla="*/ 2147483646 h 223"/>
                <a:gd name="T40" fmla="*/ 2147483646 w 300"/>
                <a:gd name="T41" fmla="*/ 2147483646 h 223"/>
                <a:gd name="T42" fmla="*/ 2147483646 w 300"/>
                <a:gd name="T43" fmla="*/ 2147483646 h 223"/>
                <a:gd name="T44" fmla="*/ 0 w 300"/>
                <a:gd name="T45" fmla="*/ 2147483646 h 223"/>
                <a:gd name="T46" fmla="*/ 2147483646 w 300"/>
                <a:gd name="T47" fmla="*/ 2147483646 h 223"/>
                <a:gd name="T48" fmla="*/ 2147483646 w 300"/>
                <a:gd name="T49" fmla="*/ 2147483646 h 223"/>
                <a:gd name="T50" fmla="*/ 2147483646 w 300"/>
                <a:gd name="T51" fmla="*/ 2147483646 h 223"/>
                <a:gd name="T52" fmla="*/ 2147483646 w 300"/>
                <a:gd name="T53" fmla="*/ 2147483646 h 223"/>
                <a:gd name="T54" fmla="*/ 2147483646 w 300"/>
                <a:gd name="T55" fmla="*/ 2147483646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9" name="Freeform 365"/>
            <p:cNvSpPr>
              <a:spLocks/>
            </p:cNvSpPr>
            <p:nvPr/>
          </p:nvSpPr>
          <p:spPr bwMode="auto">
            <a:xfrm>
              <a:off x="4555193" y="3893539"/>
              <a:ext cx="362498" cy="275565"/>
            </a:xfrm>
            <a:custGeom>
              <a:avLst/>
              <a:gdLst>
                <a:gd name="T0" fmla="*/ 2147483646 w 300"/>
                <a:gd name="T1" fmla="*/ 2147483646 h 223"/>
                <a:gd name="T2" fmla="*/ 2147483646 w 300"/>
                <a:gd name="T3" fmla="*/ 2147483646 h 223"/>
                <a:gd name="T4" fmla="*/ 2147483646 w 300"/>
                <a:gd name="T5" fmla="*/ 2147483646 h 223"/>
                <a:gd name="T6" fmla="*/ 2147483646 w 300"/>
                <a:gd name="T7" fmla="*/ 2147483646 h 223"/>
                <a:gd name="T8" fmla="*/ 2147483646 w 300"/>
                <a:gd name="T9" fmla="*/ 2147483646 h 223"/>
                <a:gd name="T10" fmla="*/ 2147483646 w 300"/>
                <a:gd name="T11" fmla="*/ 2147483646 h 223"/>
                <a:gd name="T12" fmla="*/ 2147483646 w 300"/>
                <a:gd name="T13" fmla="*/ 2147483646 h 223"/>
                <a:gd name="T14" fmla="*/ 2147483646 w 300"/>
                <a:gd name="T15" fmla="*/ 2147483646 h 223"/>
                <a:gd name="T16" fmla="*/ 2147483646 w 300"/>
                <a:gd name="T17" fmla="*/ 2147483646 h 223"/>
                <a:gd name="T18" fmla="*/ 2147483646 w 300"/>
                <a:gd name="T19" fmla="*/ 2147483646 h 223"/>
                <a:gd name="T20" fmla="*/ 2147483646 w 300"/>
                <a:gd name="T21" fmla="*/ 2147483646 h 223"/>
                <a:gd name="T22" fmla="*/ 2147483646 w 300"/>
                <a:gd name="T23" fmla="*/ 2147483646 h 223"/>
                <a:gd name="T24" fmla="*/ 2147483646 w 300"/>
                <a:gd name="T25" fmla="*/ 2147483646 h 223"/>
                <a:gd name="T26" fmla="*/ 2147483646 w 300"/>
                <a:gd name="T27" fmla="*/ 2147483646 h 223"/>
                <a:gd name="T28" fmla="*/ 2147483646 w 300"/>
                <a:gd name="T29" fmla="*/ 2147483646 h 223"/>
                <a:gd name="T30" fmla="*/ 2147483646 w 300"/>
                <a:gd name="T31" fmla="*/ 0 h 223"/>
                <a:gd name="T32" fmla="*/ 2147483646 w 300"/>
                <a:gd name="T33" fmla="*/ 2147483646 h 223"/>
                <a:gd name="T34" fmla="*/ 2147483646 w 300"/>
                <a:gd name="T35" fmla="*/ 2147483646 h 223"/>
                <a:gd name="T36" fmla="*/ 2147483646 w 300"/>
                <a:gd name="T37" fmla="*/ 2147483646 h 223"/>
                <a:gd name="T38" fmla="*/ 2147483646 w 300"/>
                <a:gd name="T39" fmla="*/ 2147483646 h 223"/>
                <a:gd name="T40" fmla="*/ 2147483646 w 300"/>
                <a:gd name="T41" fmla="*/ 2147483646 h 223"/>
                <a:gd name="T42" fmla="*/ 2147483646 w 300"/>
                <a:gd name="T43" fmla="*/ 2147483646 h 223"/>
                <a:gd name="T44" fmla="*/ 0 w 300"/>
                <a:gd name="T45" fmla="*/ 2147483646 h 223"/>
                <a:gd name="T46" fmla="*/ 2147483646 w 300"/>
                <a:gd name="T47" fmla="*/ 2147483646 h 223"/>
                <a:gd name="T48" fmla="*/ 2147483646 w 300"/>
                <a:gd name="T49" fmla="*/ 2147483646 h 223"/>
                <a:gd name="T50" fmla="*/ 2147483646 w 300"/>
                <a:gd name="T51" fmla="*/ 2147483646 h 223"/>
                <a:gd name="T52" fmla="*/ 2147483646 w 300"/>
                <a:gd name="T53" fmla="*/ 2147483646 h 223"/>
                <a:gd name="T54" fmla="*/ 2147483646 w 300"/>
                <a:gd name="T55" fmla="*/ 2147483646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0" name="Freeform 366"/>
            <p:cNvSpPr>
              <a:spLocks/>
            </p:cNvSpPr>
            <p:nvPr/>
          </p:nvSpPr>
          <p:spPr bwMode="auto">
            <a:xfrm>
              <a:off x="4274549" y="3855893"/>
              <a:ext cx="375653" cy="364409"/>
            </a:xfrm>
            <a:custGeom>
              <a:avLst/>
              <a:gdLst>
                <a:gd name="T0" fmla="*/ 2147483646 w 52"/>
                <a:gd name="T1" fmla="*/ 2147483646 h 49"/>
                <a:gd name="T2" fmla="*/ 2147483646 w 52"/>
                <a:gd name="T3" fmla="*/ 2147483646 h 49"/>
                <a:gd name="T4" fmla="*/ 2147483646 w 52"/>
                <a:gd name="T5" fmla="*/ 2147483646 h 49"/>
                <a:gd name="T6" fmla="*/ 2147483646 w 52"/>
                <a:gd name="T7" fmla="*/ 2147483646 h 49"/>
                <a:gd name="T8" fmla="*/ 2147483646 w 52"/>
                <a:gd name="T9" fmla="*/ 2147483646 h 49"/>
                <a:gd name="T10" fmla="*/ 2147483646 w 52"/>
                <a:gd name="T11" fmla="*/ 2147483646 h 49"/>
                <a:gd name="T12" fmla="*/ 2147483646 w 52"/>
                <a:gd name="T13" fmla="*/ 2147483646 h 49"/>
                <a:gd name="T14" fmla="*/ 2147483646 w 52"/>
                <a:gd name="T15" fmla="*/ 2147483646 h 49"/>
                <a:gd name="T16" fmla="*/ 2147483646 w 52"/>
                <a:gd name="T17" fmla="*/ 2147483646 h 49"/>
                <a:gd name="T18" fmla="*/ 2147483646 w 52"/>
                <a:gd name="T19" fmla="*/ 2147483646 h 49"/>
                <a:gd name="T20" fmla="*/ 2147483646 w 52"/>
                <a:gd name="T21" fmla="*/ 2147483646 h 49"/>
                <a:gd name="T22" fmla="*/ 2147483646 w 52"/>
                <a:gd name="T23" fmla="*/ 0 h 49"/>
                <a:gd name="T24" fmla="*/ 2147483646 w 52"/>
                <a:gd name="T25" fmla="*/ 0 h 49"/>
                <a:gd name="T26" fmla="*/ 2147483646 w 52"/>
                <a:gd name="T27" fmla="*/ 2147483646 h 49"/>
                <a:gd name="T28" fmla="*/ 2147483646 w 52"/>
                <a:gd name="T29" fmla="*/ 2147483646 h 49"/>
                <a:gd name="T30" fmla="*/ 2147483646 w 52"/>
                <a:gd name="T31" fmla="*/ 2147483646 h 49"/>
                <a:gd name="T32" fmla="*/ 2147483646 w 52"/>
                <a:gd name="T33" fmla="*/ 2147483646 h 49"/>
                <a:gd name="T34" fmla="*/ 2147483646 w 52"/>
                <a:gd name="T35" fmla="*/ 2147483646 h 49"/>
                <a:gd name="T36" fmla="*/ 2147483646 w 52"/>
                <a:gd name="T37" fmla="*/ 2147483646 h 49"/>
                <a:gd name="T38" fmla="*/ 0 w 52"/>
                <a:gd name="T39" fmla="*/ 2147483646 h 49"/>
                <a:gd name="T40" fmla="*/ 0 w 52"/>
                <a:gd name="T41" fmla="*/ 2147483646 h 49"/>
                <a:gd name="T42" fmla="*/ 2147483646 w 52"/>
                <a:gd name="T43" fmla="*/ 2147483646 h 49"/>
                <a:gd name="T44" fmla="*/ 2147483646 w 52"/>
                <a:gd name="T45" fmla="*/ 2147483646 h 49"/>
                <a:gd name="T46" fmla="*/ 2147483646 w 52"/>
                <a:gd name="T47" fmla="*/ 2147483646 h 49"/>
                <a:gd name="T48" fmla="*/ 2147483646 w 52"/>
                <a:gd name="T49" fmla="*/ 2147483646 h 49"/>
                <a:gd name="T50" fmla="*/ 2147483646 w 52"/>
                <a:gd name="T51" fmla="*/ 2147483646 h 49"/>
                <a:gd name="T52" fmla="*/ 2147483646 w 52"/>
                <a:gd name="T53" fmla="*/ 2147483646 h 49"/>
                <a:gd name="T54" fmla="*/ 2147483646 w 52"/>
                <a:gd name="T55" fmla="*/ 2147483646 h 49"/>
                <a:gd name="T56" fmla="*/ 2147483646 w 52"/>
                <a:gd name="T57" fmla="*/ 2147483646 h 49"/>
                <a:gd name="T58" fmla="*/ 2147483646 w 52"/>
                <a:gd name="T59" fmla="*/ 2147483646 h 49"/>
                <a:gd name="T60" fmla="*/ 2147483646 w 52"/>
                <a:gd name="T61" fmla="*/ 2147483646 h 49"/>
                <a:gd name="T62" fmla="*/ 2147483646 w 52"/>
                <a:gd name="T63" fmla="*/ 2147483646 h 49"/>
                <a:gd name="T64" fmla="*/ 2147483646 w 52"/>
                <a:gd name="T65" fmla="*/ 2147483646 h 49"/>
                <a:gd name="T66" fmla="*/ 2147483646 w 52"/>
                <a:gd name="T67" fmla="*/ 2147483646 h 49"/>
                <a:gd name="T68" fmla="*/ 2147483646 w 52"/>
                <a:gd name="T69" fmla="*/ 2147483646 h 49"/>
                <a:gd name="T70" fmla="*/ 2147483646 w 52"/>
                <a:gd name="T71" fmla="*/ 2147483646 h 49"/>
                <a:gd name="T72" fmla="*/ 2147483646 w 52"/>
                <a:gd name="T73" fmla="*/ 2147483646 h 4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2" h="49">
                  <a:moveTo>
                    <a:pt x="24" y="44"/>
                  </a:moveTo>
                  <a:cubicBezTo>
                    <a:pt x="27" y="40"/>
                    <a:pt x="27" y="40"/>
                    <a:pt x="27" y="40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10" y="42"/>
                    <a:pt x="10" y="42"/>
                  </a:cubicBezTo>
                  <a:cubicBezTo>
                    <a:pt x="11" y="42"/>
                    <a:pt x="11" y="44"/>
                    <a:pt x="11" y="4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7"/>
                    <a:pt x="23" y="47"/>
                    <a:pt x="23" y="47"/>
                  </a:cubicBezTo>
                  <a:lnTo>
                    <a:pt x="24" y="4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1" name="Freeform 367"/>
            <p:cNvSpPr>
              <a:spLocks/>
            </p:cNvSpPr>
            <p:nvPr/>
          </p:nvSpPr>
          <p:spPr bwMode="auto">
            <a:xfrm>
              <a:off x="5496520" y="4191692"/>
              <a:ext cx="216330" cy="301164"/>
            </a:xfrm>
            <a:custGeom>
              <a:avLst/>
              <a:gdLst>
                <a:gd name="T0" fmla="*/ 2147483646 w 180"/>
                <a:gd name="T1" fmla="*/ 2147483646 h 246"/>
                <a:gd name="T2" fmla="*/ 2147483646 w 180"/>
                <a:gd name="T3" fmla="*/ 2147483646 h 246"/>
                <a:gd name="T4" fmla="*/ 2147483646 w 180"/>
                <a:gd name="T5" fmla="*/ 2147483646 h 246"/>
                <a:gd name="T6" fmla="*/ 2147483646 w 180"/>
                <a:gd name="T7" fmla="*/ 2147483646 h 246"/>
                <a:gd name="T8" fmla="*/ 2147483646 w 180"/>
                <a:gd name="T9" fmla="*/ 2147483646 h 246"/>
                <a:gd name="T10" fmla="*/ 2147483646 w 180"/>
                <a:gd name="T11" fmla="*/ 2147483646 h 246"/>
                <a:gd name="T12" fmla="*/ 2147483646 w 180"/>
                <a:gd name="T13" fmla="*/ 2147483646 h 246"/>
                <a:gd name="T14" fmla="*/ 2147483646 w 180"/>
                <a:gd name="T15" fmla="*/ 2147483646 h 246"/>
                <a:gd name="T16" fmla="*/ 2147483646 w 180"/>
                <a:gd name="T17" fmla="*/ 2147483646 h 246"/>
                <a:gd name="T18" fmla="*/ 2147483646 w 180"/>
                <a:gd name="T19" fmla="*/ 2147483646 h 246"/>
                <a:gd name="T20" fmla="*/ 2147483646 w 180"/>
                <a:gd name="T21" fmla="*/ 2147483646 h 246"/>
                <a:gd name="T22" fmla="*/ 2147483646 w 180"/>
                <a:gd name="T23" fmla="*/ 2147483646 h 246"/>
                <a:gd name="T24" fmla="*/ 2147483646 w 180"/>
                <a:gd name="T25" fmla="*/ 2147483646 h 246"/>
                <a:gd name="T26" fmla="*/ 0 w 180"/>
                <a:gd name="T27" fmla="*/ 2147483646 h 246"/>
                <a:gd name="T28" fmla="*/ 0 w 180"/>
                <a:gd name="T29" fmla="*/ 2147483646 h 246"/>
                <a:gd name="T30" fmla="*/ 2147483646 w 180"/>
                <a:gd name="T31" fmla="*/ 2147483646 h 246"/>
                <a:gd name="T32" fmla="*/ 2147483646 w 180"/>
                <a:gd name="T33" fmla="*/ 2147483646 h 246"/>
                <a:gd name="T34" fmla="*/ 2147483646 w 180"/>
                <a:gd name="T35" fmla="*/ 2147483646 h 246"/>
                <a:gd name="T36" fmla="*/ 2147483646 w 180"/>
                <a:gd name="T37" fmla="*/ 2147483646 h 246"/>
                <a:gd name="T38" fmla="*/ 2147483646 w 180"/>
                <a:gd name="T39" fmla="*/ 2147483646 h 246"/>
                <a:gd name="T40" fmla="*/ 2147483646 w 180"/>
                <a:gd name="T41" fmla="*/ 0 h 246"/>
                <a:gd name="T42" fmla="*/ 2147483646 w 180"/>
                <a:gd name="T43" fmla="*/ 2147483646 h 24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246">
                  <a:moveTo>
                    <a:pt x="72" y="18"/>
                  </a:moveTo>
                  <a:lnTo>
                    <a:pt x="48" y="12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42" y="36"/>
                  </a:lnTo>
                  <a:lnTo>
                    <a:pt x="84" y="60"/>
                  </a:lnTo>
                  <a:lnTo>
                    <a:pt x="126" y="66"/>
                  </a:lnTo>
                  <a:lnTo>
                    <a:pt x="78" y="120"/>
                  </a:lnTo>
                  <a:lnTo>
                    <a:pt x="36" y="132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0" y="168"/>
                  </a:lnTo>
                  <a:lnTo>
                    <a:pt x="0" y="228"/>
                  </a:lnTo>
                  <a:lnTo>
                    <a:pt x="12" y="246"/>
                  </a:lnTo>
                  <a:lnTo>
                    <a:pt x="42" y="204"/>
                  </a:lnTo>
                  <a:lnTo>
                    <a:pt x="90" y="180"/>
                  </a:lnTo>
                  <a:lnTo>
                    <a:pt x="132" y="132"/>
                  </a:lnTo>
                  <a:lnTo>
                    <a:pt x="168" y="48"/>
                  </a:lnTo>
                  <a:lnTo>
                    <a:pt x="180" y="0"/>
                  </a:lnTo>
                  <a:lnTo>
                    <a:pt x="72" y="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2" name="Freeform 368"/>
            <p:cNvSpPr>
              <a:spLocks/>
            </p:cNvSpPr>
            <p:nvPr/>
          </p:nvSpPr>
          <p:spPr bwMode="auto">
            <a:xfrm>
              <a:off x="4873841" y="4169104"/>
              <a:ext cx="29234" cy="117454"/>
            </a:xfrm>
            <a:custGeom>
              <a:avLst/>
              <a:gdLst>
                <a:gd name="T0" fmla="*/ 2147483646 w 24"/>
                <a:gd name="T1" fmla="*/ 0 h 96"/>
                <a:gd name="T2" fmla="*/ 2147483646 w 24"/>
                <a:gd name="T3" fmla="*/ 0 h 96"/>
                <a:gd name="T4" fmla="*/ 2147483646 w 24"/>
                <a:gd name="T5" fmla="*/ 2147483646 h 96"/>
                <a:gd name="T6" fmla="*/ 0 w 24"/>
                <a:gd name="T7" fmla="*/ 2147483646 h 96"/>
                <a:gd name="T8" fmla="*/ 0 w 24"/>
                <a:gd name="T9" fmla="*/ 2147483646 h 96"/>
                <a:gd name="T10" fmla="*/ 2147483646 w 24"/>
                <a:gd name="T11" fmla="*/ 2147483646 h 96"/>
                <a:gd name="T12" fmla="*/ 2147483646 w 24"/>
                <a:gd name="T13" fmla="*/ 2147483646 h 96"/>
                <a:gd name="T14" fmla="*/ 2147483646 w 24"/>
                <a:gd name="T15" fmla="*/ 0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96">
                  <a:moveTo>
                    <a:pt x="12" y="0"/>
                  </a:moveTo>
                  <a:lnTo>
                    <a:pt x="12" y="0"/>
                  </a:lnTo>
                  <a:lnTo>
                    <a:pt x="24" y="42"/>
                  </a:lnTo>
                  <a:lnTo>
                    <a:pt x="0" y="48"/>
                  </a:lnTo>
                  <a:lnTo>
                    <a:pt x="0" y="66"/>
                  </a:lnTo>
                  <a:lnTo>
                    <a:pt x="18" y="96"/>
                  </a:lnTo>
                  <a:lnTo>
                    <a:pt x="24" y="9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3" name="Freeform 369"/>
            <p:cNvSpPr>
              <a:spLocks/>
            </p:cNvSpPr>
            <p:nvPr/>
          </p:nvSpPr>
          <p:spPr bwMode="auto">
            <a:xfrm>
              <a:off x="4873841" y="4169104"/>
              <a:ext cx="29234" cy="117454"/>
            </a:xfrm>
            <a:custGeom>
              <a:avLst/>
              <a:gdLst>
                <a:gd name="T0" fmla="*/ 2147483646 w 24"/>
                <a:gd name="T1" fmla="*/ 0 h 96"/>
                <a:gd name="T2" fmla="*/ 2147483646 w 24"/>
                <a:gd name="T3" fmla="*/ 0 h 96"/>
                <a:gd name="T4" fmla="*/ 2147483646 w 24"/>
                <a:gd name="T5" fmla="*/ 2147483646 h 96"/>
                <a:gd name="T6" fmla="*/ 0 w 24"/>
                <a:gd name="T7" fmla="*/ 2147483646 h 96"/>
                <a:gd name="T8" fmla="*/ 0 w 24"/>
                <a:gd name="T9" fmla="*/ 2147483646 h 96"/>
                <a:gd name="T10" fmla="*/ 2147483646 w 24"/>
                <a:gd name="T11" fmla="*/ 2147483646 h 96"/>
                <a:gd name="T12" fmla="*/ 2147483646 w 24"/>
                <a:gd name="T13" fmla="*/ 2147483646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4" h="96">
                  <a:moveTo>
                    <a:pt x="12" y="0"/>
                  </a:moveTo>
                  <a:lnTo>
                    <a:pt x="12" y="0"/>
                  </a:lnTo>
                  <a:lnTo>
                    <a:pt x="24" y="42"/>
                  </a:lnTo>
                  <a:lnTo>
                    <a:pt x="0" y="48"/>
                  </a:lnTo>
                  <a:lnTo>
                    <a:pt x="0" y="66"/>
                  </a:lnTo>
                  <a:lnTo>
                    <a:pt x="18" y="96"/>
                  </a:lnTo>
                  <a:lnTo>
                    <a:pt x="24" y="9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4" name="Freeform 370"/>
            <p:cNvSpPr>
              <a:spLocks/>
            </p:cNvSpPr>
            <p:nvPr/>
          </p:nvSpPr>
          <p:spPr bwMode="auto">
            <a:xfrm>
              <a:off x="4859224" y="3902574"/>
              <a:ext cx="238255" cy="383984"/>
            </a:xfrm>
            <a:custGeom>
              <a:avLst/>
              <a:gdLst>
                <a:gd name="T0" fmla="*/ 2147483646 w 198"/>
                <a:gd name="T1" fmla="*/ 2147483646 h 313"/>
                <a:gd name="T2" fmla="*/ 2147483646 w 198"/>
                <a:gd name="T3" fmla="*/ 2147483646 h 313"/>
                <a:gd name="T4" fmla="*/ 2147483646 w 198"/>
                <a:gd name="T5" fmla="*/ 2147483646 h 313"/>
                <a:gd name="T6" fmla="*/ 2147483646 w 198"/>
                <a:gd name="T7" fmla="*/ 2147483646 h 313"/>
                <a:gd name="T8" fmla="*/ 2147483646 w 198"/>
                <a:gd name="T9" fmla="*/ 2147483646 h 313"/>
                <a:gd name="T10" fmla="*/ 2147483646 w 198"/>
                <a:gd name="T11" fmla="*/ 2147483646 h 313"/>
                <a:gd name="T12" fmla="*/ 2147483646 w 198"/>
                <a:gd name="T13" fmla="*/ 2147483646 h 313"/>
                <a:gd name="T14" fmla="*/ 2147483646 w 198"/>
                <a:gd name="T15" fmla="*/ 2147483646 h 313"/>
                <a:gd name="T16" fmla="*/ 2147483646 w 198"/>
                <a:gd name="T17" fmla="*/ 2147483646 h 313"/>
                <a:gd name="T18" fmla="*/ 2147483646 w 198"/>
                <a:gd name="T19" fmla="*/ 2147483646 h 313"/>
                <a:gd name="T20" fmla="*/ 2147483646 w 198"/>
                <a:gd name="T21" fmla="*/ 2147483646 h 313"/>
                <a:gd name="T22" fmla="*/ 2147483646 w 198"/>
                <a:gd name="T23" fmla="*/ 2147483646 h 313"/>
                <a:gd name="T24" fmla="*/ 2147483646 w 198"/>
                <a:gd name="T25" fmla="*/ 0 h 313"/>
                <a:gd name="T26" fmla="*/ 2147483646 w 198"/>
                <a:gd name="T27" fmla="*/ 2147483646 h 313"/>
                <a:gd name="T28" fmla="*/ 2147483646 w 198"/>
                <a:gd name="T29" fmla="*/ 2147483646 h 313"/>
                <a:gd name="T30" fmla="*/ 2147483646 w 198"/>
                <a:gd name="T31" fmla="*/ 2147483646 h 313"/>
                <a:gd name="T32" fmla="*/ 2147483646 w 198"/>
                <a:gd name="T33" fmla="*/ 2147483646 h 313"/>
                <a:gd name="T34" fmla="*/ 2147483646 w 198"/>
                <a:gd name="T35" fmla="*/ 2147483646 h 313"/>
                <a:gd name="T36" fmla="*/ 2147483646 w 198"/>
                <a:gd name="T37" fmla="*/ 2147483646 h 313"/>
                <a:gd name="T38" fmla="*/ 2147483646 w 198"/>
                <a:gd name="T39" fmla="*/ 2147483646 h 313"/>
                <a:gd name="T40" fmla="*/ 2147483646 w 198"/>
                <a:gd name="T41" fmla="*/ 2147483646 h 313"/>
                <a:gd name="T42" fmla="*/ 0 w 198"/>
                <a:gd name="T43" fmla="*/ 2147483646 h 313"/>
                <a:gd name="T44" fmla="*/ 2147483646 w 198"/>
                <a:gd name="T45" fmla="*/ 2147483646 h 313"/>
                <a:gd name="T46" fmla="*/ 2147483646 w 198"/>
                <a:gd name="T47" fmla="*/ 2147483646 h 313"/>
                <a:gd name="T48" fmla="*/ 2147483646 w 198"/>
                <a:gd name="T49" fmla="*/ 2147483646 h 313"/>
                <a:gd name="T50" fmla="*/ 2147483646 w 198"/>
                <a:gd name="T51" fmla="*/ 2147483646 h 31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98" h="313">
                  <a:moveTo>
                    <a:pt x="36" y="313"/>
                  </a:moveTo>
                  <a:lnTo>
                    <a:pt x="60" y="307"/>
                  </a:lnTo>
                  <a:lnTo>
                    <a:pt x="96" y="295"/>
                  </a:lnTo>
                  <a:lnTo>
                    <a:pt x="102" y="283"/>
                  </a:lnTo>
                  <a:lnTo>
                    <a:pt x="132" y="277"/>
                  </a:lnTo>
                  <a:lnTo>
                    <a:pt x="180" y="247"/>
                  </a:lnTo>
                  <a:lnTo>
                    <a:pt x="162" y="211"/>
                  </a:lnTo>
                  <a:lnTo>
                    <a:pt x="168" y="193"/>
                  </a:lnTo>
                  <a:lnTo>
                    <a:pt x="174" y="162"/>
                  </a:lnTo>
                  <a:lnTo>
                    <a:pt x="192" y="150"/>
                  </a:lnTo>
                  <a:lnTo>
                    <a:pt x="198" y="78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48"/>
                  </a:lnTo>
                  <a:lnTo>
                    <a:pt x="48" y="60"/>
                  </a:lnTo>
                  <a:lnTo>
                    <a:pt x="36" y="13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6" y="168"/>
                  </a:lnTo>
                  <a:lnTo>
                    <a:pt x="0" y="175"/>
                  </a:lnTo>
                  <a:lnTo>
                    <a:pt x="12" y="193"/>
                  </a:lnTo>
                  <a:lnTo>
                    <a:pt x="30" y="199"/>
                  </a:lnTo>
                  <a:lnTo>
                    <a:pt x="24" y="217"/>
                  </a:lnTo>
                  <a:lnTo>
                    <a:pt x="36" y="31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5" name="Freeform 371"/>
            <p:cNvSpPr>
              <a:spLocks/>
            </p:cNvSpPr>
            <p:nvPr/>
          </p:nvSpPr>
          <p:spPr bwMode="auto">
            <a:xfrm>
              <a:off x="4859224" y="3902574"/>
              <a:ext cx="238255" cy="383984"/>
            </a:xfrm>
            <a:custGeom>
              <a:avLst/>
              <a:gdLst>
                <a:gd name="T0" fmla="*/ 2147483646 w 198"/>
                <a:gd name="T1" fmla="*/ 2147483646 h 313"/>
                <a:gd name="T2" fmla="*/ 2147483646 w 198"/>
                <a:gd name="T3" fmla="*/ 2147483646 h 313"/>
                <a:gd name="T4" fmla="*/ 2147483646 w 198"/>
                <a:gd name="T5" fmla="*/ 2147483646 h 313"/>
                <a:gd name="T6" fmla="*/ 2147483646 w 198"/>
                <a:gd name="T7" fmla="*/ 2147483646 h 313"/>
                <a:gd name="T8" fmla="*/ 2147483646 w 198"/>
                <a:gd name="T9" fmla="*/ 2147483646 h 313"/>
                <a:gd name="T10" fmla="*/ 2147483646 w 198"/>
                <a:gd name="T11" fmla="*/ 2147483646 h 313"/>
                <a:gd name="T12" fmla="*/ 2147483646 w 198"/>
                <a:gd name="T13" fmla="*/ 2147483646 h 313"/>
                <a:gd name="T14" fmla="*/ 2147483646 w 198"/>
                <a:gd name="T15" fmla="*/ 2147483646 h 313"/>
                <a:gd name="T16" fmla="*/ 2147483646 w 198"/>
                <a:gd name="T17" fmla="*/ 2147483646 h 313"/>
                <a:gd name="T18" fmla="*/ 2147483646 w 198"/>
                <a:gd name="T19" fmla="*/ 2147483646 h 313"/>
                <a:gd name="T20" fmla="*/ 2147483646 w 198"/>
                <a:gd name="T21" fmla="*/ 2147483646 h 313"/>
                <a:gd name="T22" fmla="*/ 2147483646 w 198"/>
                <a:gd name="T23" fmla="*/ 2147483646 h 313"/>
                <a:gd name="T24" fmla="*/ 2147483646 w 198"/>
                <a:gd name="T25" fmla="*/ 0 h 313"/>
                <a:gd name="T26" fmla="*/ 2147483646 w 198"/>
                <a:gd name="T27" fmla="*/ 2147483646 h 313"/>
                <a:gd name="T28" fmla="*/ 2147483646 w 198"/>
                <a:gd name="T29" fmla="*/ 2147483646 h 313"/>
                <a:gd name="T30" fmla="*/ 2147483646 w 198"/>
                <a:gd name="T31" fmla="*/ 2147483646 h 313"/>
                <a:gd name="T32" fmla="*/ 2147483646 w 198"/>
                <a:gd name="T33" fmla="*/ 2147483646 h 313"/>
                <a:gd name="T34" fmla="*/ 2147483646 w 198"/>
                <a:gd name="T35" fmla="*/ 2147483646 h 313"/>
                <a:gd name="T36" fmla="*/ 2147483646 w 198"/>
                <a:gd name="T37" fmla="*/ 2147483646 h 313"/>
                <a:gd name="T38" fmla="*/ 2147483646 w 198"/>
                <a:gd name="T39" fmla="*/ 2147483646 h 313"/>
                <a:gd name="T40" fmla="*/ 2147483646 w 198"/>
                <a:gd name="T41" fmla="*/ 2147483646 h 313"/>
                <a:gd name="T42" fmla="*/ 0 w 198"/>
                <a:gd name="T43" fmla="*/ 2147483646 h 313"/>
                <a:gd name="T44" fmla="*/ 2147483646 w 198"/>
                <a:gd name="T45" fmla="*/ 2147483646 h 313"/>
                <a:gd name="T46" fmla="*/ 2147483646 w 198"/>
                <a:gd name="T47" fmla="*/ 2147483646 h 313"/>
                <a:gd name="T48" fmla="*/ 2147483646 w 198"/>
                <a:gd name="T49" fmla="*/ 2147483646 h 31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8" h="313">
                  <a:moveTo>
                    <a:pt x="36" y="313"/>
                  </a:moveTo>
                  <a:lnTo>
                    <a:pt x="60" y="307"/>
                  </a:lnTo>
                  <a:lnTo>
                    <a:pt x="96" y="295"/>
                  </a:lnTo>
                  <a:lnTo>
                    <a:pt x="102" y="283"/>
                  </a:lnTo>
                  <a:lnTo>
                    <a:pt x="132" y="277"/>
                  </a:lnTo>
                  <a:lnTo>
                    <a:pt x="180" y="247"/>
                  </a:lnTo>
                  <a:lnTo>
                    <a:pt x="162" y="211"/>
                  </a:lnTo>
                  <a:lnTo>
                    <a:pt x="168" y="193"/>
                  </a:lnTo>
                  <a:lnTo>
                    <a:pt x="174" y="162"/>
                  </a:lnTo>
                  <a:lnTo>
                    <a:pt x="192" y="150"/>
                  </a:lnTo>
                  <a:lnTo>
                    <a:pt x="198" y="78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48"/>
                  </a:lnTo>
                  <a:lnTo>
                    <a:pt x="48" y="60"/>
                  </a:lnTo>
                  <a:lnTo>
                    <a:pt x="36" y="13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6" y="168"/>
                  </a:lnTo>
                  <a:lnTo>
                    <a:pt x="0" y="175"/>
                  </a:lnTo>
                  <a:lnTo>
                    <a:pt x="12" y="193"/>
                  </a:lnTo>
                  <a:lnTo>
                    <a:pt x="30" y="199"/>
                  </a:lnTo>
                  <a:lnTo>
                    <a:pt x="24" y="217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6" name="Freeform 372"/>
            <p:cNvSpPr>
              <a:spLocks/>
            </p:cNvSpPr>
            <p:nvPr/>
          </p:nvSpPr>
          <p:spPr bwMode="auto">
            <a:xfrm>
              <a:off x="4932308" y="4989778"/>
              <a:ext cx="366883" cy="335798"/>
            </a:xfrm>
            <a:custGeom>
              <a:avLst/>
              <a:gdLst>
                <a:gd name="T0" fmla="*/ 2147483646 w 51"/>
                <a:gd name="T1" fmla="*/ 2147483646 h 45"/>
                <a:gd name="T2" fmla="*/ 2147483646 w 51"/>
                <a:gd name="T3" fmla="*/ 2147483646 h 45"/>
                <a:gd name="T4" fmla="*/ 2147483646 w 51"/>
                <a:gd name="T5" fmla="*/ 2147483646 h 45"/>
                <a:gd name="T6" fmla="*/ 2147483646 w 51"/>
                <a:gd name="T7" fmla="*/ 2147483646 h 45"/>
                <a:gd name="T8" fmla="*/ 2147483646 w 51"/>
                <a:gd name="T9" fmla="*/ 0 h 45"/>
                <a:gd name="T10" fmla="*/ 2147483646 w 51"/>
                <a:gd name="T11" fmla="*/ 2147483646 h 45"/>
                <a:gd name="T12" fmla="*/ 2147483646 w 51"/>
                <a:gd name="T13" fmla="*/ 2147483646 h 45"/>
                <a:gd name="T14" fmla="*/ 2147483646 w 51"/>
                <a:gd name="T15" fmla="*/ 2147483646 h 45"/>
                <a:gd name="T16" fmla="*/ 2147483646 w 51"/>
                <a:gd name="T17" fmla="*/ 2147483646 h 45"/>
                <a:gd name="T18" fmla="*/ 2147483646 w 51"/>
                <a:gd name="T19" fmla="*/ 2147483646 h 45"/>
                <a:gd name="T20" fmla="*/ 2147483646 w 51"/>
                <a:gd name="T21" fmla="*/ 2147483646 h 45"/>
                <a:gd name="T22" fmla="*/ 2147483646 w 51"/>
                <a:gd name="T23" fmla="*/ 2147483646 h 45"/>
                <a:gd name="T24" fmla="*/ 2147483646 w 51"/>
                <a:gd name="T25" fmla="*/ 2147483646 h 45"/>
                <a:gd name="T26" fmla="*/ 2147483646 w 51"/>
                <a:gd name="T27" fmla="*/ 2147483646 h 45"/>
                <a:gd name="T28" fmla="*/ 2147483646 w 51"/>
                <a:gd name="T29" fmla="*/ 2147483646 h 45"/>
                <a:gd name="T30" fmla="*/ 2147483646 w 51"/>
                <a:gd name="T31" fmla="*/ 2147483646 h 45"/>
                <a:gd name="T32" fmla="*/ 2147483646 w 51"/>
                <a:gd name="T33" fmla="*/ 2147483646 h 45"/>
                <a:gd name="T34" fmla="*/ 0 w 51"/>
                <a:gd name="T35" fmla="*/ 2147483646 h 45"/>
                <a:gd name="T36" fmla="*/ 2147483646 w 51"/>
                <a:gd name="T37" fmla="*/ 2147483646 h 45"/>
                <a:gd name="T38" fmla="*/ 2147483646 w 51"/>
                <a:gd name="T39" fmla="*/ 2147483646 h 45"/>
                <a:gd name="T40" fmla="*/ 2147483646 w 51"/>
                <a:gd name="T41" fmla="*/ 2147483646 h 45"/>
                <a:gd name="T42" fmla="*/ 2147483646 w 51"/>
                <a:gd name="T43" fmla="*/ 2147483646 h 45"/>
                <a:gd name="T44" fmla="*/ 2147483646 w 51"/>
                <a:gd name="T45" fmla="*/ 2147483646 h 45"/>
                <a:gd name="T46" fmla="*/ 2147483646 w 51"/>
                <a:gd name="T47" fmla="*/ 2147483646 h 45"/>
                <a:gd name="T48" fmla="*/ 2147483646 w 51"/>
                <a:gd name="T49" fmla="*/ 2147483646 h 45"/>
                <a:gd name="T50" fmla="*/ 2147483646 w 51"/>
                <a:gd name="T51" fmla="*/ 2147483646 h 45"/>
                <a:gd name="T52" fmla="*/ 2147483646 w 51"/>
                <a:gd name="T53" fmla="*/ 2147483646 h 45"/>
                <a:gd name="T54" fmla="*/ 2147483646 w 51"/>
                <a:gd name="T55" fmla="*/ 2147483646 h 45"/>
                <a:gd name="T56" fmla="*/ 2147483646 w 51"/>
                <a:gd name="T57" fmla="*/ 2147483646 h 45"/>
                <a:gd name="T58" fmla="*/ 2147483646 w 51"/>
                <a:gd name="T59" fmla="*/ 2147483646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51" h="45">
                  <a:moveTo>
                    <a:pt x="48" y="1"/>
                  </a:moveTo>
                  <a:cubicBezTo>
                    <a:pt x="47" y="1"/>
                    <a:pt x="47" y="1"/>
                    <a:pt x="47" y="1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50" y="19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49" y="16"/>
                    <a:pt x="49" y="16"/>
                    <a:pt x="49" y="16"/>
                  </a:cubicBezTo>
                  <a:lnTo>
                    <a:pt x="48" y="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7" name="Freeform 373"/>
            <p:cNvSpPr>
              <a:spLocks/>
            </p:cNvSpPr>
            <p:nvPr/>
          </p:nvSpPr>
          <p:spPr bwMode="auto">
            <a:xfrm>
              <a:off x="5011240" y="4879852"/>
              <a:ext cx="217791" cy="222862"/>
            </a:xfrm>
            <a:custGeom>
              <a:avLst/>
              <a:gdLst>
                <a:gd name="T0" fmla="*/ 2147483646 w 180"/>
                <a:gd name="T1" fmla="*/ 2147483646 h 180"/>
                <a:gd name="T2" fmla="*/ 2147483646 w 180"/>
                <a:gd name="T3" fmla="*/ 2147483646 h 180"/>
                <a:gd name="T4" fmla="*/ 2147483646 w 180"/>
                <a:gd name="T5" fmla="*/ 2147483646 h 180"/>
                <a:gd name="T6" fmla="*/ 2147483646 w 180"/>
                <a:gd name="T7" fmla="*/ 2147483646 h 180"/>
                <a:gd name="T8" fmla="*/ 2147483646 w 180"/>
                <a:gd name="T9" fmla="*/ 2147483646 h 180"/>
                <a:gd name="T10" fmla="*/ 2147483646 w 180"/>
                <a:gd name="T11" fmla="*/ 2147483646 h 180"/>
                <a:gd name="T12" fmla="*/ 2147483646 w 180"/>
                <a:gd name="T13" fmla="*/ 2147483646 h 180"/>
                <a:gd name="T14" fmla="*/ 2147483646 w 180"/>
                <a:gd name="T15" fmla="*/ 0 h 180"/>
                <a:gd name="T16" fmla="*/ 2147483646 w 180"/>
                <a:gd name="T17" fmla="*/ 2147483646 h 180"/>
                <a:gd name="T18" fmla="*/ 2147483646 w 180"/>
                <a:gd name="T19" fmla="*/ 2147483646 h 180"/>
                <a:gd name="T20" fmla="*/ 2147483646 w 180"/>
                <a:gd name="T21" fmla="*/ 2147483646 h 180"/>
                <a:gd name="T22" fmla="*/ 0 w 180"/>
                <a:gd name="T23" fmla="*/ 2147483646 h 180"/>
                <a:gd name="T24" fmla="*/ 0 w 180"/>
                <a:gd name="T25" fmla="*/ 2147483646 h 180"/>
                <a:gd name="T26" fmla="*/ 2147483646 w 180"/>
                <a:gd name="T27" fmla="*/ 2147483646 h 180"/>
                <a:gd name="T28" fmla="*/ 2147483646 w 180"/>
                <a:gd name="T29" fmla="*/ 2147483646 h 180"/>
                <a:gd name="T30" fmla="*/ 2147483646 w 180"/>
                <a:gd name="T31" fmla="*/ 2147483646 h 180"/>
                <a:gd name="T32" fmla="*/ 2147483646 w 180"/>
                <a:gd name="T33" fmla="*/ 2147483646 h 180"/>
                <a:gd name="T34" fmla="*/ 2147483646 w 180"/>
                <a:gd name="T35" fmla="*/ 2147483646 h 180"/>
                <a:gd name="T36" fmla="*/ 2147483646 w 180"/>
                <a:gd name="T37" fmla="*/ 2147483646 h 180"/>
                <a:gd name="T38" fmla="*/ 2147483646 w 180"/>
                <a:gd name="T39" fmla="*/ 2147483646 h 180"/>
                <a:gd name="T40" fmla="*/ 2147483646 w 180"/>
                <a:gd name="T41" fmla="*/ 2147483646 h 180"/>
                <a:gd name="T42" fmla="*/ 2147483646 w 180"/>
                <a:gd name="T43" fmla="*/ 2147483646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180">
                  <a:moveTo>
                    <a:pt x="144" y="54"/>
                  </a:moveTo>
                  <a:lnTo>
                    <a:pt x="132" y="54"/>
                  </a:lnTo>
                  <a:lnTo>
                    <a:pt x="114" y="30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84" y="12"/>
                  </a:lnTo>
                  <a:lnTo>
                    <a:pt x="96" y="6"/>
                  </a:lnTo>
                  <a:lnTo>
                    <a:pt x="84" y="0"/>
                  </a:lnTo>
                  <a:lnTo>
                    <a:pt x="66" y="6"/>
                  </a:lnTo>
                  <a:lnTo>
                    <a:pt x="18" y="18"/>
                  </a:lnTo>
                  <a:lnTo>
                    <a:pt x="12" y="84"/>
                  </a:lnTo>
                  <a:lnTo>
                    <a:pt x="0" y="90"/>
                  </a:lnTo>
                  <a:lnTo>
                    <a:pt x="0" y="144"/>
                  </a:lnTo>
                  <a:lnTo>
                    <a:pt x="12" y="168"/>
                  </a:lnTo>
                  <a:lnTo>
                    <a:pt x="18" y="180"/>
                  </a:lnTo>
                  <a:lnTo>
                    <a:pt x="36" y="180"/>
                  </a:lnTo>
                  <a:lnTo>
                    <a:pt x="66" y="162"/>
                  </a:lnTo>
                  <a:lnTo>
                    <a:pt x="90" y="162"/>
                  </a:lnTo>
                  <a:lnTo>
                    <a:pt x="138" y="120"/>
                  </a:lnTo>
                  <a:lnTo>
                    <a:pt x="180" y="90"/>
                  </a:lnTo>
                  <a:lnTo>
                    <a:pt x="150" y="78"/>
                  </a:lnTo>
                  <a:lnTo>
                    <a:pt x="144" y="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8" name="Freeform 374"/>
            <p:cNvSpPr>
              <a:spLocks/>
            </p:cNvSpPr>
            <p:nvPr/>
          </p:nvSpPr>
          <p:spPr bwMode="auto">
            <a:xfrm>
              <a:off x="5234877" y="4708188"/>
              <a:ext cx="247026" cy="400549"/>
            </a:xfrm>
            <a:custGeom>
              <a:avLst/>
              <a:gdLst>
                <a:gd name="T0" fmla="*/ 2147483646 w 34"/>
                <a:gd name="T1" fmla="*/ 2147483646 h 54"/>
                <a:gd name="T2" fmla="*/ 2147483646 w 34"/>
                <a:gd name="T3" fmla="*/ 2147483646 h 54"/>
                <a:gd name="T4" fmla="*/ 2147483646 w 34"/>
                <a:gd name="T5" fmla="*/ 2147483646 h 54"/>
                <a:gd name="T6" fmla="*/ 2147483646 w 34"/>
                <a:gd name="T7" fmla="*/ 2147483646 h 54"/>
                <a:gd name="T8" fmla="*/ 2147483646 w 34"/>
                <a:gd name="T9" fmla="*/ 2147483646 h 54"/>
                <a:gd name="T10" fmla="*/ 2147483646 w 34"/>
                <a:gd name="T11" fmla="*/ 2147483646 h 54"/>
                <a:gd name="T12" fmla="*/ 2147483646 w 34"/>
                <a:gd name="T13" fmla="*/ 2147483646 h 54"/>
                <a:gd name="T14" fmla="*/ 2147483646 w 34"/>
                <a:gd name="T15" fmla="*/ 2147483646 h 54"/>
                <a:gd name="T16" fmla="*/ 2147483646 w 34"/>
                <a:gd name="T17" fmla="*/ 2147483646 h 54"/>
                <a:gd name="T18" fmla="*/ 2147483646 w 34"/>
                <a:gd name="T19" fmla="*/ 2147483646 h 54"/>
                <a:gd name="T20" fmla="*/ 2147483646 w 34"/>
                <a:gd name="T21" fmla="*/ 2147483646 h 54"/>
                <a:gd name="T22" fmla="*/ 2147483646 w 34"/>
                <a:gd name="T23" fmla="*/ 2147483646 h 54"/>
                <a:gd name="T24" fmla="*/ 0 w 34"/>
                <a:gd name="T25" fmla="*/ 2147483646 h 54"/>
                <a:gd name="T26" fmla="*/ 0 w 34"/>
                <a:gd name="T27" fmla="*/ 2147483646 h 54"/>
                <a:gd name="T28" fmla="*/ 2147483646 w 34"/>
                <a:gd name="T29" fmla="*/ 2147483646 h 54"/>
                <a:gd name="T30" fmla="*/ 2147483646 w 34"/>
                <a:gd name="T31" fmla="*/ 2147483646 h 54"/>
                <a:gd name="T32" fmla="*/ 2147483646 w 34"/>
                <a:gd name="T33" fmla="*/ 2147483646 h 54"/>
                <a:gd name="T34" fmla="*/ 2147483646 w 34"/>
                <a:gd name="T35" fmla="*/ 2147483646 h 54"/>
                <a:gd name="T36" fmla="*/ 2147483646 w 34"/>
                <a:gd name="T37" fmla="*/ 2147483646 h 54"/>
                <a:gd name="T38" fmla="*/ 2147483646 w 34"/>
                <a:gd name="T39" fmla="*/ 2147483646 h 54"/>
                <a:gd name="T40" fmla="*/ 2147483646 w 34"/>
                <a:gd name="T41" fmla="*/ 2147483646 h 54"/>
                <a:gd name="T42" fmla="*/ 2147483646 w 34"/>
                <a:gd name="T43" fmla="*/ 2147483646 h 54"/>
                <a:gd name="T44" fmla="*/ 2147483646 w 34"/>
                <a:gd name="T45" fmla="*/ 2147483646 h 54"/>
                <a:gd name="T46" fmla="*/ 2147483646 w 34"/>
                <a:gd name="T47" fmla="*/ 2147483646 h 54"/>
                <a:gd name="T48" fmla="*/ 2147483646 w 34"/>
                <a:gd name="T49" fmla="*/ 2147483646 h 54"/>
                <a:gd name="T50" fmla="*/ 2147483646 w 34"/>
                <a:gd name="T51" fmla="*/ 2147483646 h 54"/>
                <a:gd name="T52" fmla="*/ 2147483646 w 34"/>
                <a:gd name="T53" fmla="*/ 2147483646 h 54"/>
                <a:gd name="T54" fmla="*/ 2147483646 w 34"/>
                <a:gd name="T55" fmla="*/ 2147483646 h 54"/>
                <a:gd name="T56" fmla="*/ 2147483646 w 34"/>
                <a:gd name="T57" fmla="*/ 2147483646 h 54"/>
                <a:gd name="T58" fmla="*/ 2147483646 w 34"/>
                <a:gd name="T59" fmla="*/ 2147483646 h 54"/>
                <a:gd name="T60" fmla="*/ 2147483646 w 34"/>
                <a:gd name="T61" fmla="*/ 2147483646 h 54"/>
                <a:gd name="T62" fmla="*/ 2147483646 w 34"/>
                <a:gd name="T63" fmla="*/ 2147483646 h 54"/>
                <a:gd name="T64" fmla="*/ 2147483646 w 34"/>
                <a:gd name="T65" fmla="*/ 2147483646 h 54"/>
                <a:gd name="T66" fmla="*/ 2147483646 w 34"/>
                <a:gd name="T67" fmla="*/ 2147483646 h 54"/>
                <a:gd name="T68" fmla="*/ 2147483646 w 34"/>
                <a:gd name="T69" fmla="*/ 0 h 54"/>
                <a:gd name="T70" fmla="*/ 2147483646 w 34"/>
                <a:gd name="T71" fmla="*/ 0 h 54"/>
                <a:gd name="T72" fmla="*/ 2147483646 w 34"/>
                <a:gd name="T73" fmla="*/ 2147483646 h 54"/>
                <a:gd name="T74" fmla="*/ 2147483646 w 34"/>
                <a:gd name="T75" fmla="*/ 2147483646 h 5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" h="54">
                  <a:moveTo>
                    <a:pt x="22" y="2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1"/>
                    <a:pt x="9" y="51"/>
                    <a:pt x="9" y="51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1"/>
                    <a:pt x="30" y="1"/>
                    <a:pt x="30" y="1"/>
                  </a:cubicBezTo>
                  <a:lnTo>
                    <a:pt x="22" y="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9" name="Freeform 375"/>
            <p:cNvSpPr>
              <a:spLocks/>
            </p:cNvSpPr>
            <p:nvPr/>
          </p:nvSpPr>
          <p:spPr bwMode="auto">
            <a:xfrm>
              <a:off x="5234877" y="4479303"/>
              <a:ext cx="239717" cy="251473"/>
            </a:xfrm>
            <a:custGeom>
              <a:avLst/>
              <a:gdLst>
                <a:gd name="T0" fmla="*/ 2147483646 w 33"/>
                <a:gd name="T1" fmla="*/ 2147483646 h 34"/>
                <a:gd name="T2" fmla="*/ 2147483646 w 33"/>
                <a:gd name="T3" fmla="*/ 2147483646 h 34"/>
                <a:gd name="T4" fmla="*/ 2147483646 w 33"/>
                <a:gd name="T5" fmla="*/ 2147483646 h 34"/>
                <a:gd name="T6" fmla="*/ 2147483646 w 33"/>
                <a:gd name="T7" fmla="*/ 2147483646 h 34"/>
                <a:gd name="T8" fmla="*/ 2147483646 w 33"/>
                <a:gd name="T9" fmla="*/ 0 h 34"/>
                <a:gd name="T10" fmla="*/ 2147483646 w 33"/>
                <a:gd name="T11" fmla="*/ 2147483646 h 34"/>
                <a:gd name="T12" fmla="*/ 2147483646 w 33"/>
                <a:gd name="T13" fmla="*/ 2147483646 h 34"/>
                <a:gd name="T14" fmla="*/ 2147483646 w 33"/>
                <a:gd name="T15" fmla="*/ 2147483646 h 34"/>
                <a:gd name="T16" fmla="*/ 2147483646 w 33"/>
                <a:gd name="T17" fmla="*/ 2147483646 h 34"/>
                <a:gd name="T18" fmla="*/ 2147483646 w 33"/>
                <a:gd name="T19" fmla="*/ 2147483646 h 34"/>
                <a:gd name="T20" fmla="*/ 2147483646 w 33"/>
                <a:gd name="T21" fmla="*/ 2147483646 h 34"/>
                <a:gd name="T22" fmla="*/ 0 w 33"/>
                <a:gd name="T23" fmla="*/ 2147483646 h 34"/>
                <a:gd name="T24" fmla="*/ 2147483646 w 33"/>
                <a:gd name="T25" fmla="*/ 2147483646 h 34"/>
                <a:gd name="T26" fmla="*/ 2147483646 w 33"/>
                <a:gd name="T27" fmla="*/ 2147483646 h 34"/>
                <a:gd name="T28" fmla="*/ 2147483646 w 33"/>
                <a:gd name="T29" fmla="*/ 2147483646 h 34"/>
                <a:gd name="T30" fmla="*/ 2147483646 w 33"/>
                <a:gd name="T31" fmla="*/ 2147483646 h 34"/>
                <a:gd name="T32" fmla="*/ 2147483646 w 33"/>
                <a:gd name="T33" fmla="*/ 2147483646 h 34"/>
                <a:gd name="T34" fmla="*/ 2147483646 w 33"/>
                <a:gd name="T35" fmla="*/ 2147483646 h 34"/>
                <a:gd name="T36" fmla="*/ 2147483646 w 33"/>
                <a:gd name="T37" fmla="*/ 2147483646 h 34"/>
                <a:gd name="T38" fmla="*/ 2147483646 w 33"/>
                <a:gd name="T39" fmla="*/ 2147483646 h 34"/>
                <a:gd name="T40" fmla="*/ 2147483646 w 33"/>
                <a:gd name="T41" fmla="*/ 2147483646 h 34"/>
                <a:gd name="T42" fmla="*/ 2147483646 w 33"/>
                <a:gd name="T43" fmla="*/ 2147483646 h 34"/>
                <a:gd name="T44" fmla="*/ 2147483646 w 33"/>
                <a:gd name="T45" fmla="*/ 2147483646 h 34"/>
                <a:gd name="T46" fmla="*/ 2147483646 w 33"/>
                <a:gd name="T47" fmla="*/ 2147483646 h 34"/>
                <a:gd name="T48" fmla="*/ 2147483646 w 33"/>
                <a:gd name="T49" fmla="*/ 2147483646 h 34"/>
                <a:gd name="T50" fmla="*/ 2147483646 w 33"/>
                <a:gd name="T51" fmla="*/ 2147483646 h 34"/>
                <a:gd name="T52" fmla="*/ 2147483646 w 33"/>
                <a:gd name="T53" fmla="*/ 2147483646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3" h="34">
                  <a:moveTo>
                    <a:pt x="25" y="6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8" y="26"/>
                    <a:pt x="9" y="26"/>
                  </a:cubicBezTo>
                  <a:cubicBezTo>
                    <a:pt x="9" y="26"/>
                    <a:pt x="14" y="27"/>
                    <a:pt x="14" y="27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28" y="15"/>
                    <a:pt x="28" y="14"/>
                  </a:cubicBezTo>
                  <a:cubicBezTo>
                    <a:pt x="28" y="13"/>
                    <a:pt x="29" y="12"/>
                    <a:pt x="30" y="12"/>
                  </a:cubicBezTo>
                  <a:cubicBezTo>
                    <a:pt x="25" y="9"/>
                    <a:pt x="25" y="9"/>
                    <a:pt x="25" y="9"/>
                  </a:cubicBezTo>
                  <a:lnTo>
                    <a:pt x="25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0" name="Freeform 376"/>
            <p:cNvSpPr>
              <a:spLocks/>
            </p:cNvSpPr>
            <p:nvPr/>
          </p:nvSpPr>
          <p:spPr bwMode="auto">
            <a:xfrm>
              <a:off x="4829990" y="4596758"/>
              <a:ext cx="274797" cy="283095"/>
            </a:xfrm>
            <a:custGeom>
              <a:avLst/>
              <a:gdLst>
                <a:gd name="T0" fmla="*/ 2147483646 w 38"/>
                <a:gd name="T1" fmla="*/ 2147483646 h 38"/>
                <a:gd name="T2" fmla="*/ 2147483646 w 38"/>
                <a:gd name="T3" fmla="*/ 2147483646 h 38"/>
                <a:gd name="T4" fmla="*/ 2147483646 w 38"/>
                <a:gd name="T5" fmla="*/ 2147483646 h 38"/>
                <a:gd name="T6" fmla="*/ 2147483646 w 38"/>
                <a:gd name="T7" fmla="*/ 2147483646 h 38"/>
                <a:gd name="T8" fmla="*/ 2147483646 w 38"/>
                <a:gd name="T9" fmla="*/ 2147483646 h 38"/>
                <a:gd name="T10" fmla="*/ 2147483646 w 38"/>
                <a:gd name="T11" fmla="*/ 2147483646 h 38"/>
                <a:gd name="T12" fmla="*/ 2147483646 w 38"/>
                <a:gd name="T13" fmla="*/ 2147483646 h 38"/>
                <a:gd name="T14" fmla="*/ 2147483646 w 38"/>
                <a:gd name="T15" fmla="*/ 2147483646 h 38"/>
                <a:gd name="T16" fmla="*/ 2147483646 w 38"/>
                <a:gd name="T17" fmla="*/ 2147483646 h 38"/>
                <a:gd name="T18" fmla="*/ 2147483646 w 38"/>
                <a:gd name="T19" fmla="*/ 2147483646 h 38"/>
                <a:gd name="T20" fmla="*/ 2147483646 w 38"/>
                <a:gd name="T21" fmla="*/ 2147483646 h 38"/>
                <a:gd name="T22" fmla="*/ 2147483646 w 38"/>
                <a:gd name="T23" fmla="*/ 2147483646 h 38"/>
                <a:gd name="T24" fmla="*/ 2147483646 w 38"/>
                <a:gd name="T25" fmla="*/ 2147483646 h 38"/>
                <a:gd name="T26" fmla="*/ 2147483646 w 38"/>
                <a:gd name="T27" fmla="*/ 2147483646 h 38"/>
                <a:gd name="T28" fmla="*/ 2147483646 w 38"/>
                <a:gd name="T29" fmla="*/ 2147483646 h 38"/>
                <a:gd name="T30" fmla="*/ 2147483646 w 38"/>
                <a:gd name="T31" fmla="*/ 2147483646 h 38"/>
                <a:gd name="T32" fmla="*/ 2147483646 w 38"/>
                <a:gd name="T33" fmla="*/ 0 h 38"/>
                <a:gd name="T34" fmla="*/ 2147483646 w 38"/>
                <a:gd name="T35" fmla="*/ 0 h 38"/>
                <a:gd name="T36" fmla="*/ 2147483646 w 38"/>
                <a:gd name="T37" fmla="*/ 2147483646 h 38"/>
                <a:gd name="T38" fmla="*/ 2147483646 w 38"/>
                <a:gd name="T39" fmla="*/ 2147483646 h 38"/>
                <a:gd name="T40" fmla="*/ 2147483646 w 38"/>
                <a:gd name="T41" fmla="*/ 2147483646 h 38"/>
                <a:gd name="T42" fmla="*/ 0 w 38"/>
                <a:gd name="T43" fmla="*/ 2147483646 h 38"/>
                <a:gd name="T44" fmla="*/ 0 w 38"/>
                <a:gd name="T45" fmla="*/ 2147483646 h 38"/>
                <a:gd name="T46" fmla="*/ 2147483646 w 38"/>
                <a:gd name="T47" fmla="*/ 2147483646 h 38"/>
                <a:gd name="T48" fmla="*/ 2147483646 w 38"/>
                <a:gd name="T49" fmla="*/ 2147483646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8" h="38">
                  <a:moveTo>
                    <a:pt x="4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25" y="4"/>
                    <a:pt x="24" y="4"/>
                  </a:cubicBezTo>
                  <a:cubicBezTo>
                    <a:pt x="24" y="4"/>
                    <a:pt x="22" y="6"/>
                    <a:pt x="21" y="6"/>
                  </a:cubicBezTo>
                  <a:cubicBezTo>
                    <a:pt x="20" y="7"/>
                    <a:pt x="19" y="6"/>
                    <a:pt x="18" y="6"/>
                  </a:cubicBezTo>
                  <a:cubicBezTo>
                    <a:pt x="17" y="6"/>
                    <a:pt x="13" y="0"/>
                    <a:pt x="12" y="0"/>
                  </a:cubicBezTo>
                  <a:cubicBezTo>
                    <a:pt x="11" y="0"/>
                    <a:pt x="4" y="0"/>
                    <a:pt x="4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5"/>
                    <a:pt x="2" y="35"/>
                    <a:pt x="2" y="35"/>
                  </a:cubicBezTo>
                  <a:lnTo>
                    <a:pt x="4" y="3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1" name="Freeform 377"/>
            <p:cNvSpPr>
              <a:spLocks/>
            </p:cNvSpPr>
            <p:nvPr/>
          </p:nvSpPr>
          <p:spPr bwMode="auto">
            <a:xfrm>
              <a:off x="4829990" y="4330227"/>
              <a:ext cx="426813" cy="436688"/>
            </a:xfrm>
            <a:custGeom>
              <a:avLst/>
              <a:gdLst>
                <a:gd name="T0" fmla="*/ 2147483646 w 59"/>
                <a:gd name="T1" fmla="*/ 2147483646 h 59"/>
                <a:gd name="T2" fmla="*/ 2147483646 w 59"/>
                <a:gd name="T3" fmla="*/ 2147483646 h 59"/>
                <a:gd name="T4" fmla="*/ 2147483646 w 59"/>
                <a:gd name="T5" fmla="*/ 2147483646 h 59"/>
                <a:gd name="T6" fmla="*/ 2147483646 w 59"/>
                <a:gd name="T7" fmla="*/ 2147483646 h 59"/>
                <a:gd name="T8" fmla="*/ 2147483646 w 59"/>
                <a:gd name="T9" fmla="*/ 2147483646 h 59"/>
                <a:gd name="T10" fmla="*/ 2147483646 w 59"/>
                <a:gd name="T11" fmla="*/ 2147483646 h 59"/>
                <a:gd name="T12" fmla="*/ 0 w 59"/>
                <a:gd name="T13" fmla="*/ 2147483646 h 59"/>
                <a:gd name="T14" fmla="*/ 2147483646 w 59"/>
                <a:gd name="T15" fmla="*/ 2147483646 h 59"/>
                <a:gd name="T16" fmla="*/ 2147483646 w 59"/>
                <a:gd name="T17" fmla="*/ 2147483646 h 59"/>
                <a:gd name="T18" fmla="*/ 2147483646 w 59"/>
                <a:gd name="T19" fmla="*/ 2147483646 h 59"/>
                <a:gd name="T20" fmla="*/ 2147483646 w 59"/>
                <a:gd name="T21" fmla="*/ 2147483646 h 59"/>
                <a:gd name="T22" fmla="*/ 2147483646 w 59"/>
                <a:gd name="T23" fmla="*/ 2147483646 h 59"/>
                <a:gd name="T24" fmla="*/ 2147483646 w 59"/>
                <a:gd name="T25" fmla="*/ 2147483646 h 59"/>
                <a:gd name="T26" fmla="*/ 2147483646 w 59"/>
                <a:gd name="T27" fmla="*/ 2147483646 h 59"/>
                <a:gd name="T28" fmla="*/ 2147483646 w 59"/>
                <a:gd name="T29" fmla="*/ 2147483646 h 59"/>
                <a:gd name="T30" fmla="*/ 2147483646 w 59"/>
                <a:gd name="T31" fmla="*/ 2147483646 h 59"/>
                <a:gd name="T32" fmla="*/ 2147483646 w 59"/>
                <a:gd name="T33" fmla="*/ 2147483646 h 59"/>
                <a:gd name="T34" fmla="*/ 2147483646 w 59"/>
                <a:gd name="T35" fmla="*/ 2147483646 h 59"/>
                <a:gd name="T36" fmla="*/ 2147483646 w 59"/>
                <a:gd name="T37" fmla="*/ 2147483646 h 59"/>
                <a:gd name="T38" fmla="*/ 2147483646 w 59"/>
                <a:gd name="T39" fmla="*/ 2147483646 h 59"/>
                <a:gd name="T40" fmla="*/ 2147483646 w 59"/>
                <a:gd name="T41" fmla="*/ 2147483646 h 59"/>
                <a:gd name="T42" fmla="*/ 2147483646 w 59"/>
                <a:gd name="T43" fmla="*/ 2147483646 h 59"/>
                <a:gd name="T44" fmla="*/ 2147483646 w 59"/>
                <a:gd name="T45" fmla="*/ 2147483646 h 59"/>
                <a:gd name="T46" fmla="*/ 2147483646 w 59"/>
                <a:gd name="T47" fmla="*/ 2147483646 h 59"/>
                <a:gd name="T48" fmla="*/ 2147483646 w 59"/>
                <a:gd name="T49" fmla="*/ 2147483646 h 59"/>
                <a:gd name="T50" fmla="*/ 2147483646 w 59"/>
                <a:gd name="T51" fmla="*/ 2147483646 h 59"/>
                <a:gd name="T52" fmla="*/ 2147483646 w 59"/>
                <a:gd name="T53" fmla="*/ 2147483646 h 59"/>
                <a:gd name="T54" fmla="*/ 2147483646 w 59"/>
                <a:gd name="T55" fmla="*/ 2147483646 h 59"/>
                <a:gd name="T56" fmla="*/ 2147483646 w 59"/>
                <a:gd name="T57" fmla="*/ 2147483646 h 59"/>
                <a:gd name="T58" fmla="*/ 2147483646 w 59"/>
                <a:gd name="T59" fmla="*/ 2147483646 h 59"/>
                <a:gd name="T60" fmla="*/ 2147483646 w 59"/>
                <a:gd name="T61" fmla="*/ 2147483646 h 59"/>
                <a:gd name="T62" fmla="*/ 2147483646 w 59"/>
                <a:gd name="T63" fmla="*/ 2147483646 h 59"/>
                <a:gd name="T64" fmla="*/ 2147483646 w 59"/>
                <a:gd name="T65" fmla="*/ 2147483646 h 59"/>
                <a:gd name="T66" fmla="*/ 2147483646 w 59"/>
                <a:gd name="T67" fmla="*/ 2147483646 h 59"/>
                <a:gd name="T68" fmla="*/ 2147483646 w 59"/>
                <a:gd name="T69" fmla="*/ 0 h 59"/>
                <a:gd name="T70" fmla="*/ 2147483646 w 59"/>
                <a:gd name="T71" fmla="*/ 2147483646 h 59"/>
                <a:gd name="T72" fmla="*/ 2147483646 w 59"/>
                <a:gd name="T73" fmla="*/ 2147483646 h 59"/>
                <a:gd name="T74" fmla="*/ 2147483646 w 59"/>
                <a:gd name="T75" fmla="*/ 2147483646 h 59"/>
                <a:gd name="T76" fmla="*/ 2147483646 w 59"/>
                <a:gd name="T77" fmla="*/ 2147483646 h 59"/>
                <a:gd name="T78" fmla="*/ 2147483646 w 59"/>
                <a:gd name="T79" fmla="*/ 2147483646 h 5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59" h="59">
                  <a:moveTo>
                    <a:pt x="21" y="6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11" y="36"/>
                    <a:pt x="12" y="36"/>
                  </a:cubicBezTo>
                  <a:cubicBezTo>
                    <a:pt x="13" y="36"/>
                    <a:pt x="17" y="42"/>
                    <a:pt x="18" y="42"/>
                  </a:cubicBezTo>
                  <a:cubicBezTo>
                    <a:pt x="19" y="42"/>
                    <a:pt x="20" y="43"/>
                    <a:pt x="21" y="42"/>
                  </a:cubicBezTo>
                  <a:cubicBezTo>
                    <a:pt x="22" y="42"/>
                    <a:pt x="24" y="40"/>
                    <a:pt x="24" y="40"/>
                  </a:cubicBezTo>
                  <a:cubicBezTo>
                    <a:pt x="25" y="40"/>
                    <a:pt x="30" y="40"/>
                    <a:pt x="30" y="40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6"/>
                    <a:pt x="21" y="6"/>
                    <a:pt x="21" y="6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2" name="Freeform 378"/>
            <p:cNvSpPr>
              <a:spLocks/>
            </p:cNvSpPr>
            <p:nvPr/>
          </p:nvSpPr>
          <p:spPr bwMode="auto">
            <a:xfrm>
              <a:off x="5306500" y="4033580"/>
              <a:ext cx="340573" cy="335799"/>
            </a:xfrm>
            <a:custGeom>
              <a:avLst/>
              <a:gdLst>
                <a:gd name="T0" fmla="*/ 2147483646 w 47"/>
                <a:gd name="T1" fmla="*/ 2147483646 h 45"/>
                <a:gd name="T2" fmla="*/ 2147483646 w 47"/>
                <a:gd name="T3" fmla="*/ 2147483646 h 45"/>
                <a:gd name="T4" fmla="*/ 2147483646 w 47"/>
                <a:gd name="T5" fmla="*/ 2147483646 h 45"/>
                <a:gd name="T6" fmla="*/ 2147483646 w 47"/>
                <a:gd name="T7" fmla="*/ 2147483646 h 45"/>
                <a:gd name="T8" fmla="*/ 2147483646 w 47"/>
                <a:gd name="T9" fmla="*/ 2147483646 h 45"/>
                <a:gd name="T10" fmla="*/ 2147483646 w 47"/>
                <a:gd name="T11" fmla="*/ 2147483646 h 45"/>
                <a:gd name="T12" fmla="*/ 2147483646 w 47"/>
                <a:gd name="T13" fmla="*/ 2147483646 h 45"/>
                <a:gd name="T14" fmla="*/ 2147483646 w 47"/>
                <a:gd name="T15" fmla="*/ 2147483646 h 45"/>
                <a:gd name="T16" fmla="*/ 2147483646 w 47"/>
                <a:gd name="T17" fmla="*/ 2147483646 h 45"/>
                <a:gd name="T18" fmla="*/ 2147483646 w 47"/>
                <a:gd name="T19" fmla="*/ 2147483646 h 45"/>
                <a:gd name="T20" fmla="*/ 2147483646 w 47"/>
                <a:gd name="T21" fmla="*/ 2147483646 h 45"/>
                <a:gd name="T22" fmla="*/ 2147483646 w 47"/>
                <a:gd name="T23" fmla="*/ 2147483646 h 45"/>
                <a:gd name="T24" fmla="*/ 2147483646 w 47"/>
                <a:gd name="T25" fmla="*/ 2147483646 h 45"/>
                <a:gd name="T26" fmla="*/ 2147483646 w 47"/>
                <a:gd name="T27" fmla="*/ 2147483646 h 45"/>
                <a:gd name="T28" fmla="*/ 2147483646 w 47"/>
                <a:gd name="T29" fmla="*/ 0 h 45"/>
                <a:gd name="T30" fmla="*/ 2147483646 w 47"/>
                <a:gd name="T31" fmla="*/ 0 h 45"/>
                <a:gd name="T32" fmla="*/ 2147483646 w 47"/>
                <a:gd name="T33" fmla="*/ 2147483646 h 45"/>
                <a:gd name="T34" fmla="*/ 2147483646 w 47"/>
                <a:gd name="T35" fmla="*/ 2147483646 h 45"/>
                <a:gd name="T36" fmla="*/ 2147483646 w 47"/>
                <a:gd name="T37" fmla="*/ 2147483646 h 45"/>
                <a:gd name="T38" fmla="*/ 2147483646 w 47"/>
                <a:gd name="T39" fmla="*/ 2147483646 h 45"/>
                <a:gd name="T40" fmla="*/ 2147483646 w 47"/>
                <a:gd name="T41" fmla="*/ 2147483646 h 45"/>
                <a:gd name="T42" fmla="*/ 2147483646 w 47"/>
                <a:gd name="T43" fmla="*/ 2147483646 h 45"/>
                <a:gd name="T44" fmla="*/ 2147483646 w 47"/>
                <a:gd name="T45" fmla="*/ 2147483646 h 45"/>
                <a:gd name="T46" fmla="*/ 0 w 47"/>
                <a:gd name="T47" fmla="*/ 2147483646 h 45"/>
                <a:gd name="T48" fmla="*/ 2147483646 w 47"/>
                <a:gd name="T49" fmla="*/ 2147483646 h 45"/>
                <a:gd name="T50" fmla="*/ 2147483646 w 47"/>
                <a:gd name="T51" fmla="*/ 2147483646 h 45"/>
                <a:gd name="T52" fmla="*/ 2147483646 w 47"/>
                <a:gd name="T53" fmla="*/ 2147483646 h 45"/>
                <a:gd name="T54" fmla="*/ 2147483646 w 47"/>
                <a:gd name="T55" fmla="*/ 2147483646 h 45"/>
                <a:gd name="T56" fmla="*/ 2147483646 w 47"/>
                <a:gd name="T57" fmla="*/ 2147483646 h 45"/>
                <a:gd name="T58" fmla="*/ 2147483646 w 47"/>
                <a:gd name="T59" fmla="*/ 2147483646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7" h="45">
                  <a:moveTo>
                    <a:pt x="22" y="45"/>
                  </a:moveTo>
                  <a:cubicBezTo>
                    <a:pt x="23" y="45"/>
                    <a:pt x="24" y="44"/>
                    <a:pt x="24" y="44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3"/>
                    <a:pt x="21" y="45"/>
                    <a:pt x="22" y="4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3" name="Freeform 379"/>
            <p:cNvSpPr>
              <a:spLocks/>
            </p:cNvSpPr>
            <p:nvPr/>
          </p:nvSpPr>
          <p:spPr bwMode="auto">
            <a:xfrm>
              <a:off x="5328425" y="4345286"/>
              <a:ext cx="188558" cy="222862"/>
            </a:xfrm>
            <a:custGeom>
              <a:avLst/>
              <a:gdLst>
                <a:gd name="T0" fmla="*/ 2147483646 w 26"/>
                <a:gd name="T1" fmla="*/ 2147483646 h 30"/>
                <a:gd name="T2" fmla="*/ 2147483646 w 26"/>
                <a:gd name="T3" fmla="*/ 2147483646 h 30"/>
                <a:gd name="T4" fmla="*/ 2147483646 w 26"/>
                <a:gd name="T5" fmla="*/ 2147483646 h 30"/>
                <a:gd name="T6" fmla="*/ 2147483646 w 26"/>
                <a:gd name="T7" fmla="*/ 2147483646 h 30"/>
                <a:gd name="T8" fmla="*/ 2147483646 w 26"/>
                <a:gd name="T9" fmla="*/ 2147483646 h 30"/>
                <a:gd name="T10" fmla="*/ 2147483646 w 26"/>
                <a:gd name="T11" fmla="*/ 2147483646 h 30"/>
                <a:gd name="T12" fmla="*/ 2147483646 w 26"/>
                <a:gd name="T13" fmla="*/ 2147483646 h 30"/>
                <a:gd name="T14" fmla="*/ 2147483646 w 26"/>
                <a:gd name="T15" fmla="*/ 0 h 30"/>
                <a:gd name="T16" fmla="*/ 2147483646 w 26"/>
                <a:gd name="T17" fmla="*/ 2147483646 h 30"/>
                <a:gd name="T18" fmla="*/ 2147483646 w 26"/>
                <a:gd name="T19" fmla="*/ 2147483646 h 30"/>
                <a:gd name="T20" fmla="*/ 0 w 26"/>
                <a:gd name="T21" fmla="*/ 2147483646 h 30"/>
                <a:gd name="T22" fmla="*/ 2147483646 w 26"/>
                <a:gd name="T23" fmla="*/ 2147483646 h 30"/>
                <a:gd name="T24" fmla="*/ 2147483646 w 26"/>
                <a:gd name="T25" fmla="*/ 2147483646 h 30"/>
                <a:gd name="T26" fmla="*/ 0 w 26"/>
                <a:gd name="T27" fmla="*/ 2147483646 h 30"/>
                <a:gd name="T28" fmla="*/ 2147483646 w 26"/>
                <a:gd name="T29" fmla="*/ 2147483646 h 30"/>
                <a:gd name="T30" fmla="*/ 2147483646 w 26"/>
                <a:gd name="T31" fmla="*/ 2147483646 h 30"/>
                <a:gd name="T32" fmla="*/ 2147483646 w 26"/>
                <a:gd name="T33" fmla="*/ 2147483646 h 30"/>
                <a:gd name="T34" fmla="*/ 2147483646 w 26"/>
                <a:gd name="T35" fmla="*/ 2147483646 h 30"/>
                <a:gd name="T36" fmla="*/ 2147483646 w 26"/>
                <a:gd name="T37" fmla="*/ 2147483646 h 30"/>
                <a:gd name="T38" fmla="*/ 2147483646 w 26"/>
                <a:gd name="T39" fmla="*/ 2147483646 h 30"/>
                <a:gd name="T40" fmla="*/ 2147483646 w 26"/>
                <a:gd name="T41" fmla="*/ 2147483646 h 30"/>
                <a:gd name="T42" fmla="*/ 2147483646 w 26"/>
                <a:gd name="T43" fmla="*/ 2147483646 h 30"/>
                <a:gd name="T44" fmla="*/ 2147483646 w 26"/>
                <a:gd name="T45" fmla="*/ 2147483646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6" h="30">
                  <a:moveTo>
                    <a:pt x="23" y="7"/>
                  </a:moveTo>
                  <a:cubicBezTo>
                    <a:pt x="26" y="4"/>
                    <a:pt x="26" y="4"/>
                    <a:pt x="26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0" y="3"/>
                    <a:pt x="19" y="3"/>
                  </a:cubicBezTo>
                  <a:cubicBezTo>
                    <a:pt x="18" y="3"/>
                    <a:pt x="9" y="1"/>
                    <a:pt x="9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4" name="Freeform 380"/>
            <p:cNvSpPr>
              <a:spLocks/>
            </p:cNvSpPr>
            <p:nvPr/>
          </p:nvSpPr>
          <p:spPr bwMode="auto">
            <a:xfrm>
              <a:off x="5125251" y="4827149"/>
              <a:ext cx="173940" cy="170157"/>
            </a:xfrm>
            <a:custGeom>
              <a:avLst/>
              <a:gdLst>
                <a:gd name="T0" fmla="*/ 2147483646 w 24"/>
                <a:gd name="T1" fmla="*/ 2147483646 h 23"/>
                <a:gd name="T2" fmla="*/ 2147483646 w 24"/>
                <a:gd name="T3" fmla="*/ 2147483646 h 23"/>
                <a:gd name="T4" fmla="*/ 2147483646 w 24"/>
                <a:gd name="T5" fmla="*/ 2147483646 h 23"/>
                <a:gd name="T6" fmla="*/ 0 w 24"/>
                <a:gd name="T7" fmla="*/ 2147483646 h 23"/>
                <a:gd name="T8" fmla="*/ 2147483646 w 24"/>
                <a:gd name="T9" fmla="*/ 2147483646 h 23"/>
                <a:gd name="T10" fmla="*/ 2147483646 w 24"/>
                <a:gd name="T11" fmla="*/ 2147483646 h 23"/>
                <a:gd name="T12" fmla="*/ 2147483646 w 24"/>
                <a:gd name="T13" fmla="*/ 2147483646 h 23"/>
                <a:gd name="T14" fmla="*/ 2147483646 w 24"/>
                <a:gd name="T15" fmla="*/ 2147483646 h 23"/>
                <a:gd name="T16" fmla="*/ 2147483646 w 24"/>
                <a:gd name="T17" fmla="*/ 2147483646 h 23"/>
                <a:gd name="T18" fmla="*/ 2147483646 w 24"/>
                <a:gd name="T19" fmla="*/ 2147483646 h 23"/>
                <a:gd name="T20" fmla="*/ 2147483646 w 24"/>
                <a:gd name="T21" fmla="*/ 2147483646 h 23"/>
                <a:gd name="T22" fmla="*/ 2147483646 w 24"/>
                <a:gd name="T23" fmla="*/ 2147483646 h 23"/>
                <a:gd name="T24" fmla="*/ 2147483646 w 24"/>
                <a:gd name="T25" fmla="*/ 2147483646 h 23"/>
                <a:gd name="T26" fmla="*/ 2147483646 w 24"/>
                <a:gd name="T27" fmla="*/ 2147483646 h 23"/>
                <a:gd name="T28" fmla="*/ 2147483646 w 24"/>
                <a:gd name="T29" fmla="*/ 2147483646 h 23"/>
                <a:gd name="T30" fmla="*/ 2147483646 w 24"/>
                <a:gd name="T31" fmla="*/ 0 h 23"/>
                <a:gd name="T32" fmla="*/ 2147483646 w 24"/>
                <a:gd name="T33" fmla="*/ 2147483646 h 23"/>
                <a:gd name="T34" fmla="*/ 2147483646 w 24"/>
                <a:gd name="T35" fmla="*/ 2147483646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" h="23">
                  <a:moveTo>
                    <a:pt x="9" y="5"/>
                  </a:moveTo>
                  <a:cubicBezTo>
                    <a:pt x="9" y="5"/>
                    <a:pt x="6" y="8"/>
                    <a:pt x="6" y="8"/>
                  </a:cubicBezTo>
                  <a:cubicBezTo>
                    <a:pt x="5" y="8"/>
                    <a:pt x="2" y="7"/>
                    <a:pt x="2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3" y="1"/>
                    <a:pt x="13" y="1"/>
                    <a:pt x="13" y="1"/>
                  </a:cubicBezTo>
                  <a:lnTo>
                    <a:pt x="9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5" name="Freeform 381"/>
            <p:cNvSpPr>
              <a:spLocks/>
            </p:cNvSpPr>
            <p:nvPr/>
          </p:nvSpPr>
          <p:spPr bwMode="auto">
            <a:xfrm>
              <a:off x="5060937" y="4369379"/>
              <a:ext cx="311339" cy="516497"/>
            </a:xfrm>
            <a:custGeom>
              <a:avLst/>
              <a:gdLst>
                <a:gd name="T0" fmla="*/ 2147483646 w 43"/>
                <a:gd name="T1" fmla="*/ 2147483646 h 70"/>
                <a:gd name="T2" fmla="*/ 2147483646 w 43"/>
                <a:gd name="T3" fmla="*/ 2147483646 h 70"/>
                <a:gd name="T4" fmla="*/ 2147483646 w 43"/>
                <a:gd name="T5" fmla="*/ 2147483646 h 70"/>
                <a:gd name="T6" fmla="*/ 2147483646 w 43"/>
                <a:gd name="T7" fmla="*/ 2147483646 h 70"/>
                <a:gd name="T8" fmla="*/ 2147483646 w 43"/>
                <a:gd name="T9" fmla="*/ 2147483646 h 70"/>
                <a:gd name="T10" fmla="*/ 2147483646 w 43"/>
                <a:gd name="T11" fmla="*/ 2147483646 h 70"/>
                <a:gd name="T12" fmla="*/ 2147483646 w 43"/>
                <a:gd name="T13" fmla="*/ 2147483646 h 70"/>
                <a:gd name="T14" fmla="*/ 2147483646 w 43"/>
                <a:gd name="T15" fmla="*/ 2147483646 h 70"/>
                <a:gd name="T16" fmla="*/ 2147483646 w 43"/>
                <a:gd name="T17" fmla="*/ 2147483646 h 70"/>
                <a:gd name="T18" fmla="*/ 2147483646 w 43"/>
                <a:gd name="T19" fmla="*/ 2147483646 h 70"/>
                <a:gd name="T20" fmla="*/ 2147483646 w 43"/>
                <a:gd name="T21" fmla="*/ 2147483646 h 70"/>
                <a:gd name="T22" fmla="*/ 2147483646 w 43"/>
                <a:gd name="T23" fmla="*/ 2147483646 h 70"/>
                <a:gd name="T24" fmla="*/ 2147483646 w 43"/>
                <a:gd name="T25" fmla="*/ 2147483646 h 70"/>
                <a:gd name="T26" fmla="*/ 2147483646 w 43"/>
                <a:gd name="T27" fmla="*/ 2147483646 h 70"/>
                <a:gd name="T28" fmla="*/ 2147483646 w 43"/>
                <a:gd name="T29" fmla="*/ 2147483646 h 70"/>
                <a:gd name="T30" fmla="*/ 0 w 43"/>
                <a:gd name="T31" fmla="*/ 2147483646 h 70"/>
                <a:gd name="T32" fmla="*/ 0 w 43"/>
                <a:gd name="T33" fmla="*/ 2147483646 h 70"/>
                <a:gd name="T34" fmla="*/ 2147483646 w 43"/>
                <a:gd name="T35" fmla="*/ 2147483646 h 70"/>
                <a:gd name="T36" fmla="*/ 2147483646 w 43"/>
                <a:gd name="T37" fmla="*/ 2147483646 h 70"/>
                <a:gd name="T38" fmla="*/ 2147483646 w 43"/>
                <a:gd name="T39" fmla="*/ 2147483646 h 70"/>
                <a:gd name="T40" fmla="*/ 2147483646 w 43"/>
                <a:gd name="T41" fmla="*/ 2147483646 h 70"/>
                <a:gd name="T42" fmla="*/ 2147483646 w 43"/>
                <a:gd name="T43" fmla="*/ 2147483646 h 70"/>
                <a:gd name="T44" fmla="*/ 2147483646 w 43"/>
                <a:gd name="T45" fmla="*/ 2147483646 h 70"/>
                <a:gd name="T46" fmla="*/ 2147483646 w 43"/>
                <a:gd name="T47" fmla="*/ 2147483646 h 70"/>
                <a:gd name="T48" fmla="*/ 2147483646 w 43"/>
                <a:gd name="T49" fmla="*/ 2147483646 h 70"/>
                <a:gd name="T50" fmla="*/ 2147483646 w 43"/>
                <a:gd name="T51" fmla="*/ 2147483646 h 70"/>
                <a:gd name="T52" fmla="*/ 2147483646 w 43"/>
                <a:gd name="T53" fmla="*/ 2147483646 h 70"/>
                <a:gd name="T54" fmla="*/ 2147483646 w 43"/>
                <a:gd name="T55" fmla="*/ 2147483646 h 70"/>
                <a:gd name="T56" fmla="*/ 2147483646 w 43"/>
                <a:gd name="T57" fmla="*/ 2147483646 h 70"/>
                <a:gd name="T58" fmla="*/ 2147483646 w 43"/>
                <a:gd name="T59" fmla="*/ 2147483646 h 70"/>
                <a:gd name="T60" fmla="*/ 2147483646 w 43"/>
                <a:gd name="T61" fmla="*/ 2147483646 h 70"/>
                <a:gd name="T62" fmla="*/ 2147483646 w 43"/>
                <a:gd name="T63" fmla="*/ 2147483646 h 70"/>
                <a:gd name="T64" fmla="*/ 2147483646 w 43"/>
                <a:gd name="T65" fmla="*/ 2147483646 h 70"/>
                <a:gd name="T66" fmla="*/ 2147483646 w 43"/>
                <a:gd name="T67" fmla="*/ 2147483646 h 70"/>
                <a:gd name="T68" fmla="*/ 2147483646 w 43"/>
                <a:gd name="T69" fmla="*/ 2147483646 h 70"/>
                <a:gd name="T70" fmla="*/ 2147483646 w 43"/>
                <a:gd name="T71" fmla="*/ 2147483646 h 70"/>
                <a:gd name="T72" fmla="*/ 2147483646 w 43"/>
                <a:gd name="T73" fmla="*/ 2147483646 h 70"/>
                <a:gd name="T74" fmla="*/ 2147483646 w 43"/>
                <a:gd name="T75" fmla="*/ 2147483646 h 70"/>
                <a:gd name="T76" fmla="*/ 2147483646 w 43"/>
                <a:gd name="T77" fmla="*/ 2147483646 h 70"/>
                <a:gd name="T78" fmla="*/ 2147483646 w 43"/>
                <a:gd name="T79" fmla="*/ 2147483646 h 70"/>
                <a:gd name="T80" fmla="*/ 2147483646 w 43"/>
                <a:gd name="T81" fmla="*/ 2147483646 h 70"/>
                <a:gd name="T82" fmla="*/ 2147483646 w 43"/>
                <a:gd name="T83" fmla="*/ 2147483646 h 70"/>
                <a:gd name="T84" fmla="*/ 2147483646 w 43"/>
                <a:gd name="T85" fmla="*/ 2147483646 h 70"/>
                <a:gd name="T86" fmla="*/ 2147483646 w 43"/>
                <a:gd name="T87" fmla="*/ 2147483646 h 70"/>
                <a:gd name="T88" fmla="*/ 2147483646 w 43"/>
                <a:gd name="T89" fmla="*/ 2147483646 h 70"/>
                <a:gd name="T90" fmla="*/ 2147483646 w 43"/>
                <a:gd name="T91" fmla="*/ 2147483646 h 70"/>
                <a:gd name="T92" fmla="*/ 2147483646 w 43"/>
                <a:gd name="T93" fmla="*/ 2147483646 h 70"/>
                <a:gd name="T94" fmla="*/ 2147483646 w 43"/>
                <a:gd name="T95" fmla="*/ 2147483646 h 70"/>
                <a:gd name="T96" fmla="*/ 2147483646 w 43"/>
                <a:gd name="T97" fmla="*/ 2147483646 h 70"/>
                <a:gd name="T98" fmla="*/ 2147483646 w 43"/>
                <a:gd name="T99" fmla="*/ 2147483646 h 70"/>
                <a:gd name="T100" fmla="*/ 2147483646 w 43"/>
                <a:gd name="T101" fmla="*/ 2147483646 h 70"/>
                <a:gd name="T102" fmla="*/ 2147483646 w 43"/>
                <a:gd name="T103" fmla="*/ 2147483646 h 70"/>
                <a:gd name="T104" fmla="*/ 2147483646 w 43"/>
                <a:gd name="T105" fmla="*/ 2147483646 h 70"/>
                <a:gd name="T106" fmla="*/ 2147483646 w 43"/>
                <a:gd name="T107" fmla="*/ 2147483646 h 70"/>
                <a:gd name="T108" fmla="*/ 2147483646 w 43"/>
                <a:gd name="T109" fmla="*/ 2147483646 h 70"/>
                <a:gd name="T110" fmla="*/ 2147483646 w 43"/>
                <a:gd name="T111" fmla="*/ 0 h 70"/>
                <a:gd name="T112" fmla="*/ 2147483646 w 43"/>
                <a:gd name="T113" fmla="*/ 0 h 70"/>
                <a:gd name="T114" fmla="*/ 2147483646 w 43"/>
                <a:gd name="T115" fmla="*/ 2147483646 h 70"/>
                <a:gd name="T116" fmla="*/ 2147483646 w 43"/>
                <a:gd name="T117" fmla="*/ 0 h 70"/>
                <a:gd name="T118" fmla="*/ 2147483646 w 43"/>
                <a:gd name="T119" fmla="*/ 2147483646 h 70"/>
                <a:gd name="T120" fmla="*/ 2147483646 w 43"/>
                <a:gd name="T121" fmla="*/ 2147483646 h 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3" h="70">
                  <a:moveTo>
                    <a:pt x="27" y="6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4" y="70"/>
                    <a:pt x="15" y="70"/>
                  </a:cubicBezTo>
                  <a:cubicBezTo>
                    <a:pt x="15" y="70"/>
                    <a:pt x="18" y="67"/>
                    <a:pt x="18" y="67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3" y="41"/>
                    <a:pt x="33" y="41"/>
                  </a:cubicBezTo>
                  <a:cubicBezTo>
                    <a:pt x="32" y="41"/>
                    <a:pt x="28" y="39"/>
                    <a:pt x="28" y="39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5"/>
                    <a:pt x="27" y="5"/>
                    <a:pt x="27" y="5"/>
                  </a:cubicBezTo>
                  <a:lnTo>
                    <a:pt x="27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6" name="Freeform 382"/>
            <p:cNvSpPr>
              <a:spLocks/>
            </p:cNvSpPr>
            <p:nvPr/>
          </p:nvSpPr>
          <p:spPr bwMode="auto">
            <a:xfrm>
              <a:off x="4441182" y="4101342"/>
              <a:ext cx="172479" cy="134018"/>
            </a:xfrm>
            <a:custGeom>
              <a:avLst/>
              <a:gdLst>
                <a:gd name="T0" fmla="*/ 2147483646 w 144"/>
                <a:gd name="T1" fmla="*/ 2147483646 h 109"/>
                <a:gd name="T2" fmla="*/ 2147483646 w 144"/>
                <a:gd name="T3" fmla="*/ 2147483646 h 109"/>
                <a:gd name="T4" fmla="*/ 2147483646 w 144"/>
                <a:gd name="T5" fmla="*/ 2147483646 h 109"/>
                <a:gd name="T6" fmla="*/ 2147483646 w 144"/>
                <a:gd name="T7" fmla="*/ 2147483646 h 109"/>
                <a:gd name="T8" fmla="*/ 2147483646 w 144"/>
                <a:gd name="T9" fmla="*/ 2147483646 h 109"/>
                <a:gd name="T10" fmla="*/ 2147483646 w 144"/>
                <a:gd name="T11" fmla="*/ 2147483646 h 109"/>
                <a:gd name="T12" fmla="*/ 2147483646 w 144"/>
                <a:gd name="T13" fmla="*/ 0 h 109"/>
                <a:gd name="T14" fmla="*/ 2147483646 w 144"/>
                <a:gd name="T15" fmla="*/ 0 h 109"/>
                <a:gd name="T16" fmla="*/ 2147483646 w 144"/>
                <a:gd name="T17" fmla="*/ 2147483646 h 109"/>
                <a:gd name="T18" fmla="*/ 2147483646 w 144"/>
                <a:gd name="T19" fmla="*/ 2147483646 h 109"/>
                <a:gd name="T20" fmla="*/ 2147483646 w 144"/>
                <a:gd name="T21" fmla="*/ 2147483646 h 109"/>
                <a:gd name="T22" fmla="*/ 0 w 144"/>
                <a:gd name="T23" fmla="*/ 2147483646 h 109"/>
                <a:gd name="T24" fmla="*/ 0 w 144"/>
                <a:gd name="T25" fmla="*/ 2147483646 h 109"/>
                <a:gd name="T26" fmla="*/ 2147483646 w 144"/>
                <a:gd name="T27" fmla="*/ 2147483646 h 109"/>
                <a:gd name="T28" fmla="*/ 2147483646 w 144"/>
                <a:gd name="T29" fmla="*/ 2147483646 h 109"/>
                <a:gd name="T30" fmla="*/ 2147483646 w 144"/>
                <a:gd name="T31" fmla="*/ 2147483646 h 109"/>
                <a:gd name="T32" fmla="*/ 2147483646 w 144"/>
                <a:gd name="T33" fmla="*/ 2147483646 h 109"/>
                <a:gd name="T34" fmla="*/ 2147483646 w 144"/>
                <a:gd name="T35" fmla="*/ 2147483646 h 109"/>
                <a:gd name="T36" fmla="*/ 2147483646 w 144"/>
                <a:gd name="T37" fmla="*/ 2147483646 h 109"/>
                <a:gd name="T38" fmla="*/ 2147483646 w 144"/>
                <a:gd name="T39" fmla="*/ 2147483646 h 10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7" name="Freeform 383"/>
            <p:cNvSpPr>
              <a:spLocks/>
            </p:cNvSpPr>
            <p:nvPr/>
          </p:nvSpPr>
          <p:spPr bwMode="auto">
            <a:xfrm>
              <a:off x="4441182" y="4101342"/>
              <a:ext cx="172479" cy="134018"/>
            </a:xfrm>
            <a:custGeom>
              <a:avLst/>
              <a:gdLst>
                <a:gd name="T0" fmla="*/ 2147483646 w 144"/>
                <a:gd name="T1" fmla="*/ 2147483646 h 109"/>
                <a:gd name="T2" fmla="*/ 2147483646 w 144"/>
                <a:gd name="T3" fmla="*/ 2147483646 h 109"/>
                <a:gd name="T4" fmla="*/ 2147483646 w 144"/>
                <a:gd name="T5" fmla="*/ 2147483646 h 109"/>
                <a:gd name="T6" fmla="*/ 2147483646 w 144"/>
                <a:gd name="T7" fmla="*/ 2147483646 h 109"/>
                <a:gd name="T8" fmla="*/ 2147483646 w 144"/>
                <a:gd name="T9" fmla="*/ 2147483646 h 109"/>
                <a:gd name="T10" fmla="*/ 2147483646 w 144"/>
                <a:gd name="T11" fmla="*/ 2147483646 h 109"/>
                <a:gd name="T12" fmla="*/ 2147483646 w 144"/>
                <a:gd name="T13" fmla="*/ 0 h 109"/>
                <a:gd name="T14" fmla="*/ 2147483646 w 144"/>
                <a:gd name="T15" fmla="*/ 0 h 109"/>
                <a:gd name="T16" fmla="*/ 2147483646 w 144"/>
                <a:gd name="T17" fmla="*/ 2147483646 h 109"/>
                <a:gd name="T18" fmla="*/ 2147483646 w 144"/>
                <a:gd name="T19" fmla="*/ 2147483646 h 109"/>
                <a:gd name="T20" fmla="*/ 2147483646 w 144"/>
                <a:gd name="T21" fmla="*/ 2147483646 h 109"/>
                <a:gd name="T22" fmla="*/ 0 w 144"/>
                <a:gd name="T23" fmla="*/ 2147483646 h 109"/>
                <a:gd name="T24" fmla="*/ 0 w 144"/>
                <a:gd name="T25" fmla="*/ 2147483646 h 109"/>
                <a:gd name="T26" fmla="*/ 2147483646 w 144"/>
                <a:gd name="T27" fmla="*/ 2147483646 h 109"/>
                <a:gd name="T28" fmla="*/ 2147483646 w 144"/>
                <a:gd name="T29" fmla="*/ 2147483646 h 109"/>
                <a:gd name="T30" fmla="*/ 2147483646 w 144"/>
                <a:gd name="T31" fmla="*/ 2147483646 h 109"/>
                <a:gd name="T32" fmla="*/ 2147483646 w 144"/>
                <a:gd name="T33" fmla="*/ 2147483646 h 109"/>
                <a:gd name="T34" fmla="*/ 2147483646 w 144"/>
                <a:gd name="T35" fmla="*/ 2147483646 h 109"/>
                <a:gd name="T36" fmla="*/ 2147483646 w 144"/>
                <a:gd name="T37" fmla="*/ 2147483646 h 10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8" name="Freeform 384"/>
            <p:cNvSpPr>
              <a:spLocks/>
            </p:cNvSpPr>
            <p:nvPr/>
          </p:nvSpPr>
          <p:spPr bwMode="auto">
            <a:xfrm>
              <a:off x="4555193" y="4199220"/>
              <a:ext cx="21925" cy="6023"/>
            </a:xfrm>
            <a:custGeom>
              <a:avLst/>
              <a:gdLst>
                <a:gd name="T0" fmla="*/ 0 w 18"/>
                <a:gd name="T1" fmla="*/ 2147483646 h 6"/>
                <a:gd name="T2" fmla="*/ 2147483646 w 18"/>
                <a:gd name="T3" fmla="*/ 2147483646 h 6"/>
                <a:gd name="T4" fmla="*/ 2147483646 w 18"/>
                <a:gd name="T5" fmla="*/ 0 h 6"/>
                <a:gd name="T6" fmla="*/ 0 w 18"/>
                <a:gd name="T7" fmla="*/ 214748364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" name="Freeform 385"/>
            <p:cNvSpPr>
              <a:spLocks/>
            </p:cNvSpPr>
            <p:nvPr/>
          </p:nvSpPr>
          <p:spPr bwMode="auto">
            <a:xfrm>
              <a:off x="4555193" y="4199220"/>
              <a:ext cx="21925" cy="6023"/>
            </a:xfrm>
            <a:custGeom>
              <a:avLst/>
              <a:gdLst>
                <a:gd name="T0" fmla="*/ 0 w 18"/>
                <a:gd name="T1" fmla="*/ 2147483646 h 6"/>
                <a:gd name="T2" fmla="*/ 2147483646 w 18"/>
                <a:gd name="T3" fmla="*/ 2147483646 h 6"/>
                <a:gd name="T4" fmla="*/ 2147483646 w 1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0" name="Freeform 386"/>
            <p:cNvSpPr>
              <a:spLocks/>
            </p:cNvSpPr>
            <p:nvPr/>
          </p:nvSpPr>
          <p:spPr bwMode="auto">
            <a:xfrm>
              <a:off x="4483570" y="4205244"/>
              <a:ext cx="93548" cy="124984"/>
            </a:xfrm>
            <a:custGeom>
              <a:avLst/>
              <a:gdLst>
                <a:gd name="T0" fmla="*/ 2147483646 w 78"/>
                <a:gd name="T1" fmla="*/ 2147483646 h 102"/>
                <a:gd name="T2" fmla="*/ 2147483646 w 78"/>
                <a:gd name="T3" fmla="*/ 0 h 102"/>
                <a:gd name="T4" fmla="*/ 2147483646 w 78"/>
                <a:gd name="T5" fmla="*/ 0 h 102"/>
                <a:gd name="T6" fmla="*/ 2147483646 w 78"/>
                <a:gd name="T7" fmla="*/ 0 h 102"/>
                <a:gd name="T8" fmla="*/ 0 w 78"/>
                <a:gd name="T9" fmla="*/ 2147483646 h 102"/>
                <a:gd name="T10" fmla="*/ 2147483646 w 78"/>
                <a:gd name="T11" fmla="*/ 2147483646 h 102"/>
                <a:gd name="T12" fmla="*/ 0 w 78"/>
                <a:gd name="T13" fmla="*/ 2147483646 h 102"/>
                <a:gd name="T14" fmla="*/ 0 w 78"/>
                <a:gd name="T15" fmla="*/ 2147483646 h 102"/>
                <a:gd name="T16" fmla="*/ 2147483646 w 78"/>
                <a:gd name="T17" fmla="*/ 2147483646 h 102"/>
                <a:gd name="T18" fmla="*/ 2147483646 w 78"/>
                <a:gd name="T19" fmla="*/ 2147483646 h 102"/>
                <a:gd name="T20" fmla="*/ 2147483646 w 78"/>
                <a:gd name="T21" fmla="*/ 2147483646 h 102"/>
                <a:gd name="T22" fmla="*/ 2147483646 w 78"/>
                <a:gd name="T23" fmla="*/ 2147483646 h 102"/>
                <a:gd name="T24" fmla="*/ 2147483646 w 78"/>
                <a:gd name="T25" fmla="*/ 2147483646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8" h="102">
                  <a:moveTo>
                    <a:pt x="60" y="6"/>
                  </a:moveTo>
                  <a:lnTo>
                    <a:pt x="60" y="0"/>
                  </a:lnTo>
                  <a:lnTo>
                    <a:pt x="36" y="0"/>
                  </a:lnTo>
                  <a:lnTo>
                    <a:pt x="6" y="0"/>
                  </a:lnTo>
                  <a:lnTo>
                    <a:pt x="0" y="24"/>
                  </a:lnTo>
                  <a:lnTo>
                    <a:pt x="12" y="42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6" y="102"/>
                  </a:lnTo>
                  <a:lnTo>
                    <a:pt x="36" y="102"/>
                  </a:lnTo>
                  <a:lnTo>
                    <a:pt x="78" y="90"/>
                  </a:lnTo>
                  <a:lnTo>
                    <a:pt x="60" y="36"/>
                  </a:lnTo>
                  <a:lnTo>
                    <a:pt x="60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1" name="Freeform 387"/>
            <p:cNvSpPr>
              <a:spLocks/>
            </p:cNvSpPr>
            <p:nvPr/>
          </p:nvSpPr>
          <p:spPr bwMode="auto">
            <a:xfrm>
              <a:off x="4622431" y="4108871"/>
              <a:ext cx="273335" cy="252978"/>
            </a:xfrm>
            <a:custGeom>
              <a:avLst/>
              <a:gdLst>
                <a:gd name="T0" fmla="*/ 2147483646 w 228"/>
                <a:gd name="T1" fmla="*/ 2147483646 h 205"/>
                <a:gd name="T2" fmla="*/ 2147483646 w 228"/>
                <a:gd name="T3" fmla="*/ 2147483646 h 205"/>
                <a:gd name="T4" fmla="*/ 2147483646 w 228"/>
                <a:gd name="T5" fmla="*/ 2147483646 h 205"/>
                <a:gd name="T6" fmla="*/ 2147483646 w 228"/>
                <a:gd name="T7" fmla="*/ 2147483646 h 205"/>
                <a:gd name="T8" fmla="*/ 2147483646 w 228"/>
                <a:gd name="T9" fmla="*/ 2147483646 h 205"/>
                <a:gd name="T10" fmla="*/ 2147483646 w 228"/>
                <a:gd name="T11" fmla="*/ 2147483646 h 205"/>
                <a:gd name="T12" fmla="*/ 2147483646 w 228"/>
                <a:gd name="T13" fmla="*/ 2147483646 h 205"/>
                <a:gd name="T14" fmla="*/ 2147483646 w 228"/>
                <a:gd name="T15" fmla="*/ 2147483646 h 205"/>
                <a:gd name="T16" fmla="*/ 2147483646 w 228"/>
                <a:gd name="T17" fmla="*/ 2147483646 h 205"/>
                <a:gd name="T18" fmla="*/ 2147483646 w 228"/>
                <a:gd name="T19" fmla="*/ 0 h 205"/>
                <a:gd name="T20" fmla="*/ 2147483646 w 228"/>
                <a:gd name="T21" fmla="*/ 2147483646 h 205"/>
                <a:gd name="T22" fmla="*/ 2147483646 w 228"/>
                <a:gd name="T23" fmla="*/ 2147483646 h 205"/>
                <a:gd name="T24" fmla="*/ 2147483646 w 228"/>
                <a:gd name="T25" fmla="*/ 2147483646 h 205"/>
                <a:gd name="T26" fmla="*/ 2147483646 w 228"/>
                <a:gd name="T27" fmla="*/ 2147483646 h 205"/>
                <a:gd name="T28" fmla="*/ 2147483646 w 228"/>
                <a:gd name="T29" fmla="*/ 2147483646 h 205"/>
                <a:gd name="T30" fmla="*/ 2147483646 w 228"/>
                <a:gd name="T31" fmla="*/ 2147483646 h 205"/>
                <a:gd name="T32" fmla="*/ 2147483646 w 228"/>
                <a:gd name="T33" fmla="*/ 2147483646 h 205"/>
                <a:gd name="T34" fmla="*/ 2147483646 w 228"/>
                <a:gd name="T35" fmla="*/ 2147483646 h 205"/>
                <a:gd name="T36" fmla="*/ 2147483646 w 228"/>
                <a:gd name="T37" fmla="*/ 2147483646 h 205"/>
                <a:gd name="T38" fmla="*/ 0 w 228"/>
                <a:gd name="T39" fmla="*/ 2147483646 h 205"/>
                <a:gd name="T40" fmla="*/ 0 w 228"/>
                <a:gd name="T41" fmla="*/ 2147483646 h 205"/>
                <a:gd name="T42" fmla="*/ 2147483646 w 228"/>
                <a:gd name="T43" fmla="*/ 2147483646 h 205"/>
                <a:gd name="T44" fmla="*/ 2147483646 w 228"/>
                <a:gd name="T45" fmla="*/ 2147483646 h 205"/>
                <a:gd name="T46" fmla="*/ 2147483646 w 228"/>
                <a:gd name="T47" fmla="*/ 2147483646 h 205"/>
                <a:gd name="T48" fmla="*/ 2147483646 w 228"/>
                <a:gd name="T49" fmla="*/ 2147483646 h 205"/>
                <a:gd name="T50" fmla="*/ 2147483646 w 228"/>
                <a:gd name="T51" fmla="*/ 2147483646 h 205"/>
                <a:gd name="T52" fmla="*/ 2147483646 w 228"/>
                <a:gd name="T53" fmla="*/ 2147483646 h 20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28" h="205">
                  <a:moveTo>
                    <a:pt x="120" y="151"/>
                  </a:moveTo>
                  <a:lnTo>
                    <a:pt x="150" y="163"/>
                  </a:lnTo>
                  <a:lnTo>
                    <a:pt x="180" y="121"/>
                  </a:lnTo>
                  <a:lnTo>
                    <a:pt x="198" y="73"/>
                  </a:lnTo>
                  <a:lnTo>
                    <a:pt x="204" y="55"/>
                  </a:lnTo>
                  <a:lnTo>
                    <a:pt x="222" y="49"/>
                  </a:lnTo>
                  <a:lnTo>
                    <a:pt x="228" y="31"/>
                  </a:lnTo>
                  <a:lnTo>
                    <a:pt x="210" y="25"/>
                  </a:lnTo>
                  <a:lnTo>
                    <a:pt x="198" y="7"/>
                  </a:lnTo>
                  <a:lnTo>
                    <a:pt x="204" y="0"/>
                  </a:lnTo>
                  <a:lnTo>
                    <a:pt x="174" y="25"/>
                  </a:lnTo>
                  <a:lnTo>
                    <a:pt x="144" y="31"/>
                  </a:lnTo>
                  <a:lnTo>
                    <a:pt x="108" y="31"/>
                  </a:lnTo>
                  <a:lnTo>
                    <a:pt x="84" y="43"/>
                  </a:lnTo>
                  <a:lnTo>
                    <a:pt x="48" y="31"/>
                  </a:lnTo>
                  <a:lnTo>
                    <a:pt x="24" y="31"/>
                  </a:lnTo>
                  <a:lnTo>
                    <a:pt x="12" y="49"/>
                  </a:lnTo>
                  <a:lnTo>
                    <a:pt x="12" y="67"/>
                  </a:lnTo>
                  <a:lnTo>
                    <a:pt x="12" y="91"/>
                  </a:lnTo>
                  <a:lnTo>
                    <a:pt x="0" y="133"/>
                  </a:lnTo>
                  <a:lnTo>
                    <a:pt x="0" y="163"/>
                  </a:lnTo>
                  <a:lnTo>
                    <a:pt x="24" y="163"/>
                  </a:lnTo>
                  <a:lnTo>
                    <a:pt x="48" y="193"/>
                  </a:lnTo>
                  <a:lnTo>
                    <a:pt x="72" y="199"/>
                  </a:lnTo>
                  <a:lnTo>
                    <a:pt x="96" y="205"/>
                  </a:lnTo>
                  <a:lnTo>
                    <a:pt x="102" y="175"/>
                  </a:lnTo>
                  <a:lnTo>
                    <a:pt x="120" y="15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2" name="Freeform 388"/>
            <p:cNvSpPr>
              <a:spLocks/>
            </p:cNvSpPr>
            <p:nvPr/>
          </p:nvSpPr>
          <p:spPr bwMode="auto">
            <a:xfrm>
              <a:off x="4888458" y="4205244"/>
              <a:ext cx="295261" cy="177687"/>
            </a:xfrm>
            <a:custGeom>
              <a:avLst/>
              <a:gdLst>
                <a:gd name="T0" fmla="*/ 2147483646 w 246"/>
                <a:gd name="T1" fmla="*/ 2147483646 h 144"/>
                <a:gd name="T2" fmla="*/ 2147483646 w 246"/>
                <a:gd name="T3" fmla="*/ 2147483646 h 144"/>
                <a:gd name="T4" fmla="*/ 2147483646 w 246"/>
                <a:gd name="T5" fmla="*/ 2147483646 h 144"/>
                <a:gd name="T6" fmla="*/ 2147483646 w 246"/>
                <a:gd name="T7" fmla="*/ 2147483646 h 144"/>
                <a:gd name="T8" fmla="*/ 0 w 246"/>
                <a:gd name="T9" fmla="*/ 2147483646 h 144"/>
                <a:gd name="T10" fmla="*/ 2147483646 w 246"/>
                <a:gd name="T11" fmla="*/ 2147483646 h 144"/>
                <a:gd name="T12" fmla="*/ 2147483646 w 246"/>
                <a:gd name="T13" fmla="*/ 2147483646 h 144"/>
                <a:gd name="T14" fmla="*/ 2147483646 w 246"/>
                <a:gd name="T15" fmla="*/ 2147483646 h 144"/>
                <a:gd name="T16" fmla="*/ 2147483646 w 246"/>
                <a:gd name="T17" fmla="*/ 2147483646 h 144"/>
                <a:gd name="T18" fmla="*/ 2147483646 w 246"/>
                <a:gd name="T19" fmla="*/ 2147483646 h 144"/>
                <a:gd name="T20" fmla="*/ 2147483646 w 246"/>
                <a:gd name="T21" fmla="*/ 2147483646 h 144"/>
                <a:gd name="T22" fmla="*/ 2147483646 w 246"/>
                <a:gd name="T23" fmla="*/ 2147483646 h 144"/>
                <a:gd name="T24" fmla="*/ 2147483646 w 246"/>
                <a:gd name="T25" fmla="*/ 2147483646 h 144"/>
                <a:gd name="T26" fmla="*/ 2147483646 w 246"/>
                <a:gd name="T27" fmla="*/ 2147483646 h 144"/>
                <a:gd name="T28" fmla="*/ 2147483646 w 246"/>
                <a:gd name="T29" fmla="*/ 2147483646 h 144"/>
                <a:gd name="T30" fmla="*/ 2147483646 w 246"/>
                <a:gd name="T31" fmla="*/ 2147483646 h 144"/>
                <a:gd name="T32" fmla="*/ 2147483646 w 246"/>
                <a:gd name="T33" fmla="*/ 2147483646 h 144"/>
                <a:gd name="T34" fmla="*/ 2147483646 w 246"/>
                <a:gd name="T35" fmla="*/ 2147483646 h 144"/>
                <a:gd name="T36" fmla="*/ 2147483646 w 246"/>
                <a:gd name="T37" fmla="*/ 2147483646 h 144"/>
                <a:gd name="T38" fmla="*/ 2147483646 w 246"/>
                <a:gd name="T39" fmla="*/ 0 h 144"/>
                <a:gd name="T40" fmla="*/ 2147483646 w 246"/>
                <a:gd name="T41" fmla="*/ 2147483646 h 144"/>
                <a:gd name="T42" fmla="*/ 2147483646 w 246"/>
                <a:gd name="T43" fmla="*/ 2147483646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46" h="144">
                  <a:moveTo>
                    <a:pt x="78" y="36"/>
                  </a:moveTo>
                  <a:lnTo>
                    <a:pt x="72" y="48"/>
                  </a:lnTo>
                  <a:lnTo>
                    <a:pt x="36" y="60"/>
                  </a:lnTo>
                  <a:lnTo>
                    <a:pt x="12" y="66"/>
                  </a:lnTo>
                  <a:lnTo>
                    <a:pt x="0" y="102"/>
                  </a:lnTo>
                  <a:lnTo>
                    <a:pt x="12" y="132"/>
                  </a:lnTo>
                  <a:lnTo>
                    <a:pt x="18" y="144"/>
                  </a:lnTo>
                  <a:lnTo>
                    <a:pt x="42" y="132"/>
                  </a:lnTo>
                  <a:lnTo>
                    <a:pt x="66" y="132"/>
                  </a:lnTo>
                  <a:lnTo>
                    <a:pt x="78" y="138"/>
                  </a:lnTo>
                  <a:lnTo>
                    <a:pt x="78" y="114"/>
                  </a:lnTo>
                  <a:lnTo>
                    <a:pt x="114" y="108"/>
                  </a:lnTo>
                  <a:lnTo>
                    <a:pt x="144" y="120"/>
                  </a:lnTo>
                  <a:lnTo>
                    <a:pt x="198" y="108"/>
                  </a:lnTo>
                  <a:lnTo>
                    <a:pt x="246" y="102"/>
                  </a:lnTo>
                  <a:lnTo>
                    <a:pt x="210" y="66"/>
                  </a:lnTo>
                  <a:lnTo>
                    <a:pt x="186" y="54"/>
                  </a:lnTo>
                  <a:lnTo>
                    <a:pt x="168" y="24"/>
                  </a:lnTo>
                  <a:lnTo>
                    <a:pt x="156" y="0"/>
                  </a:lnTo>
                  <a:lnTo>
                    <a:pt x="108" y="30"/>
                  </a:lnTo>
                  <a:lnTo>
                    <a:pt x="78" y="3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3" name="Freeform 389"/>
            <p:cNvSpPr>
              <a:spLocks/>
            </p:cNvSpPr>
            <p:nvPr/>
          </p:nvSpPr>
          <p:spPr bwMode="auto">
            <a:xfrm>
              <a:off x="4802218" y="4369379"/>
              <a:ext cx="179788" cy="221355"/>
            </a:xfrm>
            <a:custGeom>
              <a:avLst/>
              <a:gdLst>
                <a:gd name="T0" fmla="*/ 2147483646 w 150"/>
                <a:gd name="T1" fmla="*/ 2147483646 h 180"/>
                <a:gd name="T2" fmla="*/ 2147483646 w 150"/>
                <a:gd name="T3" fmla="*/ 2147483646 h 180"/>
                <a:gd name="T4" fmla="*/ 2147483646 w 150"/>
                <a:gd name="T5" fmla="*/ 2147483646 h 180"/>
                <a:gd name="T6" fmla="*/ 2147483646 w 150"/>
                <a:gd name="T7" fmla="*/ 2147483646 h 180"/>
                <a:gd name="T8" fmla="*/ 2147483646 w 150"/>
                <a:gd name="T9" fmla="*/ 2147483646 h 180"/>
                <a:gd name="T10" fmla="*/ 2147483646 w 150"/>
                <a:gd name="T11" fmla="*/ 0 h 180"/>
                <a:gd name="T12" fmla="*/ 2147483646 w 150"/>
                <a:gd name="T13" fmla="*/ 0 h 180"/>
                <a:gd name="T14" fmla="*/ 2147483646 w 150"/>
                <a:gd name="T15" fmla="*/ 2147483646 h 180"/>
                <a:gd name="T16" fmla="*/ 2147483646 w 150"/>
                <a:gd name="T17" fmla="*/ 2147483646 h 180"/>
                <a:gd name="T18" fmla="*/ 2147483646 w 150"/>
                <a:gd name="T19" fmla="*/ 2147483646 h 180"/>
                <a:gd name="T20" fmla="*/ 2147483646 w 150"/>
                <a:gd name="T21" fmla="*/ 2147483646 h 180"/>
                <a:gd name="T22" fmla="*/ 2147483646 w 150"/>
                <a:gd name="T23" fmla="*/ 2147483646 h 180"/>
                <a:gd name="T24" fmla="*/ 2147483646 w 150"/>
                <a:gd name="T25" fmla="*/ 2147483646 h 180"/>
                <a:gd name="T26" fmla="*/ 2147483646 w 150"/>
                <a:gd name="T27" fmla="*/ 2147483646 h 180"/>
                <a:gd name="T28" fmla="*/ 2147483646 w 150"/>
                <a:gd name="T29" fmla="*/ 2147483646 h 180"/>
                <a:gd name="T30" fmla="*/ 2147483646 w 150"/>
                <a:gd name="T31" fmla="*/ 2147483646 h 180"/>
                <a:gd name="T32" fmla="*/ 2147483646 w 150"/>
                <a:gd name="T33" fmla="*/ 2147483646 h 180"/>
                <a:gd name="T34" fmla="*/ 0 w 150"/>
                <a:gd name="T35" fmla="*/ 2147483646 h 180"/>
                <a:gd name="T36" fmla="*/ 2147483646 w 150"/>
                <a:gd name="T37" fmla="*/ 2147483646 h 180"/>
                <a:gd name="T38" fmla="*/ 2147483646 w 150"/>
                <a:gd name="T39" fmla="*/ 2147483646 h 180"/>
                <a:gd name="T40" fmla="*/ 2147483646 w 150"/>
                <a:gd name="T41" fmla="*/ 2147483646 h 180"/>
                <a:gd name="T42" fmla="*/ 2147483646 w 150"/>
                <a:gd name="T43" fmla="*/ 2147483646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50" h="180">
                  <a:moveTo>
                    <a:pt x="66" y="162"/>
                  </a:moveTo>
                  <a:lnTo>
                    <a:pt x="90" y="144"/>
                  </a:lnTo>
                  <a:lnTo>
                    <a:pt x="114" y="96"/>
                  </a:lnTo>
                  <a:lnTo>
                    <a:pt x="132" y="7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90" y="12"/>
                  </a:lnTo>
                  <a:lnTo>
                    <a:pt x="72" y="18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48" y="48"/>
                  </a:lnTo>
                  <a:lnTo>
                    <a:pt x="60" y="54"/>
                  </a:lnTo>
                  <a:lnTo>
                    <a:pt x="54" y="84"/>
                  </a:lnTo>
                  <a:lnTo>
                    <a:pt x="48" y="114"/>
                  </a:lnTo>
                  <a:lnTo>
                    <a:pt x="30" y="114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18" y="156"/>
                  </a:lnTo>
                  <a:lnTo>
                    <a:pt x="24" y="180"/>
                  </a:lnTo>
                  <a:lnTo>
                    <a:pt x="42" y="162"/>
                  </a:lnTo>
                  <a:lnTo>
                    <a:pt x="66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4" name="Freeform 390"/>
            <p:cNvSpPr>
              <a:spLocks/>
            </p:cNvSpPr>
            <p:nvPr/>
          </p:nvSpPr>
          <p:spPr bwMode="auto">
            <a:xfrm>
              <a:off x="4765676" y="4414554"/>
              <a:ext cx="108165" cy="123477"/>
            </a:xfrm>
            <a:custGeom>
              <a:avLst/>
              <a:gdLst>
                <a:gd name="T0" fmla="*/ 2147483646 w 90"/>
                <a:gd name="T1" fmla="*/ 2147483646 h 102"/>
                <a:gd name="T2" fmla="*/ 2147483646 w 90"/>
                <a:gd name="T3" fmla="*/ 2147483646 h 102"/>
                <a:gd name="T4" fmla="*/ 2147483646 w 90"/>
                <a:gd name="T5" fmla="*/ 2147483646 h 102"/>
                <a:gd name="T6" fmla="*/ 2147483646 w 90"/>
                <a:gd name="T7" fmla="*/ 2147483646 h 102"/>
                <a:gd name="T8" fmla="*/ 2147483646 w 90"/>
                <a:gd name="T9" fmla="*/ 2147483646 h 102"/>
                <a:gd name="T10" fmla="*/ 2147483646 w 90"/>
                <a:gd name="T11" fmla="*/ 0 h 102"/>
                <a:gd name="T12" fmla="*/ 2147483646 w 90"/>
                <a:gd name="T13" fmla="*/ 0 h 102"/>
                <a:gd name="T14" fmla="*/ 0 w 90"/>
                <a:gd name="T15" fmla="*/ 0 h 102"/>
                <a:gd name="T16" fmla="*/ 0 w 90"/>
                <a:gd name="T17" fmla="*/ 2147483646 h 102"/>
                <a:gd name="T18" fmla="*/ 0 w 90"/>
                <a:gd name="T19" fmla="*/ 2147483646 h 102"/>
                <a:gd name="T20" fmla="*/ 2147483646 w 90"/>
                <a:gd name="T21" fmla="*/ 2147483646 h 102"/>
                <a:gd name="T22" fmla="*/ 2147483646 w 90"/>
                <a:gd name="T23" fmla="*/ 2147483646 h 102"/>
                <a:gd name="T24" fmla="*/ 2147483646 w 90"/>
                <a:gd name="T25" fmla="*/ 2147483646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0" h="102">
                  <a:moveTo>
                    <a:pt x="60" y="78"/>
                  </a:moveTo>
                  <a:lnTo>
                    <a:pt x="78" y="78"/>
                  </a:lnTo>
                  <a:lnTo>
                    <a:pt x="84" y="48"/>
                  </a:lnTo>
                  <a:lnTo>
                    <a:pt x="90" y="18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48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54"/>
                  </a:lnTo>
                  <a:lnTo>
                    <a:pt x="30" y="102"/>
                  </a:lnTo>
                  <a:lnTo>
                    <a:pt x="42" y="90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5" name="Freeform 391"/>
            <p:cNvSpPr>
              <a:spLocks/>
            </p:cNvSpPr>
            <p:nvPr/>
          </p:nvSpPr>
          <p:spPr bwMode="auto">
            <a:xfrm>
              <a:off x="4736442" y="4169104"/>
              <a:ext cx="172479" cy="245450"/>
            </a:xfrm>
            <a:custGeom>
              <a:avLst/>
              <a:gdLst>
                <a:gd name="T0" fmla="*/ 2147483646 w 144"/>
                <a:gd name="T1" fmla="*/ 2147483646 h 198"/>
                <a:gd name="T2" fmla="*/ 2147483646 w 144"/>
                <a:gd name="T3" fmla="*/ 2147483646 h 198"/>
                <a:gd name="T4" fmla="*/ 2147483646 w 144"/>
                <a:gd name="T5" fmla="*/ 2147483646 h 198"/>
                <a:gd name="T6" fmla="*/ 2147483646 w 144"/>
                <a:gd name="T7" fmla="*/ 2147483646 h 198"/>
                <a:gd name="T8" fmla="*/ 2147483646 w 144"/>
                <a:gd name="T9" fmla="*/ 2147483646 h 198"/>
                <a:gd name="T10" fmla="*/ 2147483646 w 144"/>
                <a:gd name="T11" fmla="*/ 2147483646 h 198"/>
                <a:gd name="T12" fmla="*/ 2147483646 w 144"/>
                <a:gd name="T13" fmla="*/ 2147483646 h 198"/>
                <a:gd name="T14" fmla="*/ 2147483646 w 144"/>
                <a:gd name="T15" fmla="*/ 2147483646 h 198"/>
                <a:gd name="T16" fmla="*/ 2147483646 w 144"/>
                <a:gd name="T17" fmla="*/ 0 h 198"/>
                <a:gd name="T18" fmla="*/ 2147483646 w 144"/>
                <a:gd name="T19" fmla="*/ 0 h 198"/>
                <a:gd name="T20" fmla="*/ 2147483646 w 144"/>
                <a:gd name="T21" fmla="*/ 2147483646 h 198"/>
                <a:gd name="T22" fmla="*/ 2147483646 w 144"/>
                <a:gd name="T23" fmla="*/ 2147483646 h 198"/>
                <a:gd name="T24" fmla="*/ 2147483646 w 144"/>
                <a:gd name="T25" fmla="*/ 2147483646 h 198"/>
                <a:gd name="T26" fmla="*/ 2147483646 w 144"/>
                <a:gd name="T27" fmla="*/ 2147483646 h 198"/>
                <a:gd name="T28" fmla="*/ 2147483646 w 144"/>
                <a:gd name="T29" fmla="*/ 2147483646 h 198"/>
                <a:gd name="T30" fmla="*/ 2147483646 w 144"/>
                <a:gd name="T31" fmla="*/ 2147483646 h 198"/>
                <a:gd name="T32" fmla="*/ 0 w 144"/>
                <a:gd name="T33" fmla="*/ 2147483646 h 198"/>
                <a:gd name="T34" fmla="*/ 2147483646 w 144"/>
                <a:gd name="T35" fmla="*/ 2147483646 h 198"/>
                <a:gd name="T36" fmla="*/ 2147483646 w 144"/>
                <a:gd name="T37" fmla="*/ 2147483646 h 198"/>
                <a:gd name="T38" fmla="*/ 2147483646 w 144"/>
                <a:gd name="T39" fmla="*/ 2147483646 h 198"/>
                <a:gd name="T40" fmla="*/ 2147483646 w 144"/>
                <a:gd name="T41" fmla="*/ 2147483646 h 198"/>
                <a:gd name="T42" fmla="*/ 2147483646 w 144"/>
                <a:gd name="T43" fmla="*/ 2147483646 h 19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44" h="198">
                  <a:moveTo>
                    <a:pt x="144" y="174"/>
                  </a:moveTo>
                  <a:lnTo>
                    <a:pt x="138" y="162"/>
                  </a:lnTo>
                  <a:lnTo>
                    <a:pt x="126" y="13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14" y="66"/>
                  </a:lnTo>
                  <a:lnTo>
                    <a:pt x="114" y="48"/>
                  </a:lnTo>
                  <a:lnTo>
                    <a:pt x="138" y="42"/>
                  </a:lnTo>
                  <a:lnTo>
                    <a:pt x="126" y="0"/>
                  </a:lnTo>
                  <a:lnTo>
                    <a:pt x="108" y="6"/>
                  </a:lnTo>
                  <a:lnTo>
                    <a:pt x="102" y="24"/>
                  </a:lnTo>
                  <a:lnTo>
                    <a:pt x="84" y="72"/>
                  </a:lnTo>
                  <a:lnTo>
                    <a:pt x="54" y="114"/>
                  </a:lnTo>
                  <a:lnTo>
                    <a:pt x="24" y="102"/>
                  </a:lnTo>
                  <a:lnTo>
                    <a:pt x="6" y="126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24" y="198"/>
                  </a:lnTo>
                  <a:lnTo>
                    <a:pt x="72" y="198"/>
                  </a:lnTo>
                  <a:lnTo>
                    <a:pt x="102" y="198"/>
                  </a:lnTo>
                  <a:lnTo>
                    <a:pt x="144" y="1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6" name="Freeform 392"/>
            <p:cNvSpPr>
              <a:spLocks/>
            </p:cNvSpPr>
            <p:nvPr/>
          </p:nvSpPr>
          <p:spPr bwMode="auto">
            <a:xfrm>
              <a:off x="4736442" y="4169104"/>
              <a:ext cx="172479" cy="245450"/>
            </a:xfrm>
            <a:custGeom>
              <a:avLst/>
              <a:gdLst>
                <a:gd name="T0" fmla="*/ 2147483646 w 144"/>
                <a:gd name="T1" fmla="*/ 2147483646 h 198"/>
                <a:gd name="T2" fmla="*/ 2147483646 w 144"/>
                <a:gd name="T3" fmla="*/ 2147483646 h 198"/>
                <a:gd name="T4" fmla="*/ 2147483646 w 144"/>
                <a:gd name="T5" fmla="*/ 2147483646 h 198"/>
                <a:gd name="T6" fmla="*/ 2147483646 w 144"/>
                <a:gd name="T7" fmla="*/ 2147483646 h 198"/>
                <a:gd name="T8" fmla="*/ 2147483646 w 144"/>
                <a:gd name="T9" fmla="*/ 2147483646 h 198"/>
                <a:gd name="T10" fmla="*/ 2147483646 w 144"/>
                <a:gd name="T11" fmla="*/ 2147483646 h 198"/>
                <a:gd name="T12" fmla="*/ 2147483646 w 144"/>
                <a:gd name="T13" fmla="*/ 2147483646 h 198"/>
                <a:gd name="T14" fmla="*/ 2147483646 w 144"/>
                <a:gd name="T15" fmla="*/ 2147483646 h 198"/>
                <a:gd name="T16" fmla="*/ 2147483646 w 144"/>
                <a:gd name="T17" fmla="*/ 0 h 198"/>
                <a:gd name="T18" fmla="*/ 2147483646 w 144"/>
                <a:gd name="T19" fmla="*/ 0 h 198"/>
                <a:gd name="T20" fmla="*/ 2147483646 w 144"/>
                <a:gd name="T21" fmla="*/ 2147483646 h 198"/>
                <a:gd name="T22" fmla="*/ 2147483646 w 144"/>
                <a:gd name="T23" fmla="*/ 2147483646 h 198"/>
                <a:gd name="T24" fmla="*/ 2147483646 w 144"/>
                <a:gd name="T25" fmla="*/ 2147483646 h 198"/>
                <a:gd name="T26" fmla="*/ 2147483646 w 144"/>
                <a:gd name="T27" fmla="*/ 2147483646 h 198"/>
                <a:gd name="T28" fmla="*/ 2147483646 w 144"/>
                <a:gd name="T29" fmla="*/ 2147483646 h 198"/>
                <a:gd name="T30" fmla="*/ 2147483646 w 144"/>
                <a:gd name="T31" fmla="*/ 2147483646 h 198"/>
                <a:gd name="T32" fmla="*/ 0 w 144"/>
                <a:gd name="T33" fmla="*/ 2147483646 h 198"/>
                <a:gd name="T34" fmla="*/ 2147483646 w 144"/>
                <a:gd name="T35" fmla="*/ 2147483646 h 198"/>
                <a:gd name="T36" fmla="*/ 2147483646 w 144"/>
                <a:gd name="T37" fmla="*/ 2147483646 h 198"/>
                <a:gd name="T38" fmla="*/ 2147483646 w 144"/>
                <a:gd name="T39" fmla="*/ 2147483646 h 198"/>
                <a:gd name="T40" fmla="*/ 2147483646 w 144"/>
                <a:gd name="T41" fmla="*/ 2147483646 h 1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44" h="198">
                  <a:moveTo>
                    <a:pt x="144" y="174"/>
                  </a:moveTo>
                  <a:lnTo>
                    <a:pt x="138" y="162"/>
                  </a:lnTo>
                  <a:lnTo>
                    <a:pt x="126" y="13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14" y="66"/>
                  </a:lnTo>
                  <a:lnTo>
                    <a:pt x="114" y="48"/>
                  </a:lnTo>
                  <a:lnTo>
                    <a:pt x="138" y="42"/>
                  </a:lnTo>
                  <a:lnTo>
                    <a:pt x="126" y="0"/>
                  </a:lnTo>
                  <a:lnTo>
                    <a:pt x="108" y="6"/>
                  </a:lnTo>
                  <a:lnTo>
                    <a:pt x="102" y="24"/>
                  </a:lnTo>
                  <a:lnTo>
                    <a:pt x="84" y="72"/>
                  </a:lnTo>
                  <a:lnTo>
                    <a:pt x="54" y="114"/>
                  </a:lnTo>
                  <a:lnTo>
                    <a:pt x="24" y="102"/>
                  </a:lnTo>
                  <a:lnTo>
                    <a:pt x="6" y="126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24" y="198"/>
                  </a:lnTo>
                  <a:lnTo>
                    <a:pt x="72" y="198"/>
                  </a:lnTo>
                  <a:lnTo>
                    <a:pt x="102" y="19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7" name="Freeform 393"/>
            <p:cNvSpPr>
              <a:spLocks/>
            </p:cNvSpPr>
            <p:nvPr/>
          </p:nvSpPr>
          <p:spPr bwMode="auto">
            <a:xfrm>
              <a:off x="4577118" y="4160069"/>
              <a:ext cx="58467" cy="149077"/>
            </a:xfrm>
            <a:custGeom>
              <a:avLst/>
              <a:gdLst>
                <a:gd name="T0" fmla="*/ 2147483646 w 48"/>
                <a:gd name="T1" fmla="*/ 2147483646 h 120"/>
                <a:gd name="T2" fmla="*/ 2147483646 w 48"/>
                <a:gd name="T3" fmla="*/ 2147483646 h 120"/>
                <a:gd name="T4" fmla="*/ 2147483646 w 48"/>
                <a:gd name="T5" fmla="*/ 2147483646 h 120"/>
                <a:gd name="T6" fmla="*/ 2147483646 w 48"/>
                <a:gd name="T7" fmla="*/ 2147483646 h 120"/>
                <a:gd name="T8" fmla="*/ 2147483646 w 48"/>
                <a:gd name="T9" fmla="*/ 0 h 120"/>
                <a:gd name="T10" fmla="*/ 2147483646 w 48"/>
                <a:gd name="T11" fmla="*/ 2147483646 h 120"/>
                <a:gd name="T12" fmla="*/ 2147483646 w 48"/>
                <a:gd name="T13" fmla="*/ 2147483646 h 120"/>
                <a:gd name="T14" fmla="*/ 0 w 48"/>
                <a:gd name="T15" fmla="*/ 2147483646 h 120"/>
                <a:gd name="T16" fmla="*/ 0 w 48"/>
                <a:gd name="T17" fmla="*/ 2147483646 h 120"/>
                <a:gd name="T18" fmla="*/ 2147483646 w 48"/>
                <a:gd name="T19" fmla="*/ 2147483646 h 120"/>
                <a:gd name="T20" fmla="*/ 2147483646 w 48"/>
                <a:gd name="T21" fmla="*/ 2147483646 h 120"/>
                <a:gd name="T22" fmla="*/ 2147483646 w 48"/>
                <a:gd name="T23" fmla="*/ 2147483646 h 120"/>
                <a:gd name="T24" fmla="*/ 2147483646 w 48"/>
                <a:gd name="T25" fmla="*/ 2147483646 h 120"/>
                <a:gd name="T26" fmla="*/ 2147483646 w 48"/>
                <a:gd name="T27" fmla="*/ 2147483646 h 120"/>
                <a:gd name="T28" fmla="*/ 2147483646 w 48"/>
                <a:gd name="T29" fmla="*/ 2147483646 h 1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120">
                  <a:moveTo>
                    <a:pt x="48" y="48"/>
                  </a:moveTo>
                  <a:lnTo>
                    <a:pt x="48" y="24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6" y="9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36" y="90"/>
                  </a:lnTo>
                  <a:lnTo>
                    <a:pt x="48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8" name="Freeform 394"/>
            <p:cNvSpPr>
              <a:spLocks/>
            </p:cNvSpPr>
            <p:nvPr/>
          </p:nvSpPr>
          <p:spPr bwMode="auto">
            <a:xfrm>
              <a:off x="4555193" y="4199220"/>
              <a:ext cx="51159" cy="117454"/>
            </a:xfrm>
            <a:custGeom>
              <a:avLst/>
              <a:gdLst>
                <a:gd name="T0" fmla="*/ 2147483646 w 42"/>
                <a:gd name="T1" fmla="*/ 2147483646 h 96"/>
                <a:gd name="T2" fmla="*/ 2147483646 w 42"/>
                <a:gd name="T3" fmla="*/ 0 h 96"/>
                <a:gd name="T4" fmla="*/ 2147483646 w 42"/>
                <a:gd name="T5" fmla="*/ 2147483646 h 96"/>
                <a:gd name="T6" fmla="*/ 0 w 42"/>
                <a:gd name="T7" fmla="*/ 2147483646 h 96"/>
                <a:gd name="T8" fmla="*/ 0 w 42"/>
                <a:gd name="T9" fmla="*/ 2147483646 h 96"/>
                <a:gd name="T10" fmla="*/ 0 w 42"/>
                <a:gd name="T11" fmla="*/ 2147483646 h 96"/>
                <a:gd name="T12" fmla="*/ 2147483646 w 42"/>
                <a:gd name="T13" fmla="*/ 2147483646 h 96"/>
                <a:gd name="T14" fmla="*/ 2147483646 w 42"/>
                <a:gd name="T15" fmla="*/ 2147483646 h 96"/>
                <a:gd name="T16" fmla="*/ 2147483646 w 42"/>
                <a:gd name="T17" fmla="*/ 2147483646 h 96"/>
                <a:gd name="T18" fmla="*/ 2147483646 w 42"/>
                <a:gd name="T19" fmla="*/ 2147483646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2" h="96">
                  <a:moveTo>
                    <a:pt x="18" y="18"/>
                  </a:moveTo>
                  <a:lnTo>
                    <a:pt x="18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42"/>
                  </a:lnTo>
                  <a:lnTo>
                    <a:pt x="18" y="96"/>
                  </a:lnTo>
                  <a:lnTo>
                    <a:pt x="42" y="90"/>
                  </a:lnTo>
                  <a:lnTo>
                    <a:pt x="24" y="60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9" name="Freeform 395"/>
            <p:cNvSpPr>
              <a:spLocks/>
            </p:cNvSpPr>
            <p:nvPr/>
          </p:nvSpPr>
          <p:spPr bwMode="auto">
            <a:xfrm>
              <a:off x="4824144" y="4858771"/>
              <a:ext cx="295261" cy="308694"/>
            </a:xfrm>
            <a:custGeom>
              <a:avLst/>
              <a:gdLst>
                <a:gd name="T0" fmla="*/ 2147483646 w 246"/>
                <a:gd name="T1" fmla="*/ 2147483646 h 252"/>
                <a:gd name="T2" fmla="*/ 2147483646 w 246"/>
                <a:gd name="T3" fmla="*/ 2147483646 h 252"/>
                <a:gd name="T4" fmla="*/ 2147483646 w 246"/>
                <a:gd name="T5" fmla="*/ 2147483646 h 252"/>
                <a:gd name="T6" fmla="*/ 2147483646 w 246"/>
                <a:gd name="T7" fmla="*/ 2147483646 h 252"/>
                <a:gd name="T8" fmla="*/ 2147483646 w 246"/>
                <a:gd name="T9" fmla="*/ 2147483646 h 252"/>
                <a:gd name="T10" fmla="*/ 2147483646 w 246"/>
                <a:gd name="T11" fmla="*/ 2147483646 h 252"/>
                <a:gd name="T12" fmla="*/ 2147483646 w 246"/>
                <a:gd name="T13" fmla="*/ 2147483646 h 252"/>
                <a:gd name="T14" fmla="*/ 2147483646 w 246"/>
                <a:gd name="T15" fmla="*/ 2147483646 h 252"/>
                <a:gd name="T16" fmla="*/ 2147483646 w 246"/>
                <a:gd name="T17" fmla="*/ 2147483646 h 252"/>
                <a:gd name="T18" fmla="*/ 2147483646 w 246"/>
                <a:gd name="T19" fmla="*/ 2147483646 h 252"/>
                <a:gd name="T20" fmla="*/ 2147483646 w 246"/>
                <a:gd name="T21" fmla="*/ 2147483646 h 252"/>
                <a:gd name="T22" fmla="*/ 2147483646 w 246"/>
                <a:gd name="T23" fmla="*/ 2147483646 h 252"/>
                <a:gd name="T24" fmla="*/ 2147483646 w 246"/>
                <a:gd name="T25" fmla="*/ 2147483646 h 252"/>
                <a:gd name="T26" fmla="*/ 2147483646 w 246"/>
                <a:gd name="T27" fmla="*/ 2147483646 h 252"/>
                <a:gd name="T28" fmla="*/ 2147483646 w 246"/>
                <a:gd name="T29" fmla="*/ 2147483646 h 252"/>
                <a:gd name="T30" fmla="*/ 2147483646 w 246"/>
                <a:gd name="T31" fmla="*/ 2147483646 h 252"/>
                <a:gd name="T32" fmla="*/ 2147483646 w 246"/>
                <a:gd name="T33" fmla="*/ 2147483646 h 252"/>
                <a:gd name="T34" fmla="*/ 2147483646 w 246"/>
                <a:gd name="T35" fmla="*/ 2147483646 h 252"/>
                <a:gd name="T36" fmla="*/ 2147483646 w 246"/>
                <a:gd name="T37" fmla="*/ 2147483646 h 252"/>
                <a:gd name="T38" fmla="*/ 2147483646 w 246"/>
                <a:gd name="T39" fmla="*/ 0 h 252"/>
                <a:gd name="T40" fmla="*/ 2147483646 w 246"/>
                <a:gd name="T41" fmla="*/ 2147483646 h 252"/>
                <a:gd name="T42" fmla="*/ 0 w 246"/>
                <a:gd name="T43" fmla="*/ 2147483646 h 252"/>
                <a:gd name="T44" fmla="*/ 2147483646 w 246"/>
                <a:gd name="T45" fmla="*/ 2147483646 h 252"/>
                <a:gd name="T46" fmla="*/ 2147483646 w 246"/>
                <a:gd name="T47" fmla="*/ 2147483646 h 252"/>
                <a:gd name="T48" fmla="*/ 2147483646 w 246"/>
                <a:gd name="T49" fmla="*/ 2147483646 h 252"/>
                <a:gd name="T50" fmla="*/ 2147483646 w 246"/>
                <a:gd name="T51" fmla="*/ 2147483646 h 252"/>
                <a:gd name="T52" fmla="*/ 2147483646 w 246"/>
                <a:gd name="T53" fmla="*/ 2147483646 h 252"/>
                <a:gd name="T54" fmla="*/ 2147483646 w 246"/>
                <a:gd name="T55" fmla="*/ 2147483646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6" h="252">
                  <a:moveTo>
                    <a:pt x="126" y="252"/>
                  </a:moveTo>
                  <a:lnTo>
                    <a:pt x="144" y="246"/>
                  </a:lnTo>
                  <a:lnTo>
                    <a:pt x="156" y="162"/>
                  </a:lnTo>
                  <a:lnTo>
                    <a:pt x="156" y="108"/>
                  </a:lnTo>
                  <a:lnTo>
                    <a:pt x="168" y="102"/>
                  </a:lnTo>
                  <a:lnTo>
                    <a:pt x="174" y="36"/>
                  </a:lnTo>
                  <a:lnTo>
                    <a:pt x="222" y="24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34" y="12"/>
                  </a:lnTo>
                  <a:lnTo>
                    <a:pt x="210" y="12"/>
                  </a:lnTo>
                  <a:lnTo>
                    <a:pt x="216" y="18"/>
                  </a:lnTo>
                  <a:lnTo>
                    <a:pt x="210" y="12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42"/>
                  </a:lnTo>
                  <a:lnTo>
                    <a:pt x="42" y="126"/>
                  </a:lnTo>
                  <a:lnTo>
                    <a:pt x="48" y="144"/>
                  </a:lnTo>
                  <a:lnTo>
                    <a:pt x="60" y="222"/>
                  </a:lnTo>
                  <a:lnTo>
                    <a:pt x="90" y="252"/>
                  </a:lnTo>
                  <a:lnTo>
                    <a:pt x="96" y="240"/>
                  </a:lnTo>
                  <a:lnTo>
                    <a:pt x="126" y="25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0" name="Freeform 396"/>
            <p:cNvSpPr>
              <a:spLocks/>
            </p:cNvSpPr>
            <p:nvPr/>
          </p:nvSpPr>
          <p:spPr bwMode="auto">
            <a:xfrm>
              <a:off x="4577118" y="4012498"/>
              <a:ext cx="73084" cy="88844"/>
            </a:xfrm>
            <a:custGeom>
              <a:avLst/>
              <a:gdLst>
                <a:gd name="T0" fmla="*/ 0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2147483646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0" y="8"/>
                    <a:pt x="10" y="8"/>
                  </a:cubicBezTo>
                  <a:cubicBezTo>
                    <a:pt x="10" y="7"/>
                    <a:pt x="10" y="0"/>
                    <a:pt x="10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1" name="Freeform 397"/>
            <p:cNvSpPr>
              <a:spLocks/>
            </p:cNvSpPr>
            <p:nvPr/>
          </p:nvSpPr>
          <p:spPr bwMode="auto">
            <a:xfrm>
              <a:off x="611561" y="2045894"/>
              <a:ext cx="622679" cy="874883"/>
            </a:xfrm>
            <a:custGeom>
              <a:avLst/>
              <a:gdLst>
                <a:gd name="T0" fmla="*/ 2147483646 w 516"/>
                <a:gd name="T1" fmla="*/ 2147483646 h 709"/>
                <a:gd name="T2" fmla="*/ 2147483646 w 516"/>
                <a:gd name="T3" fmla="*/ 2147483646 h 709"/>
                <a:gd name="T4" fmla="*/ 2147483646 w 516"/>
                <a:gd name="T5" fmla="*/ 2147483646 h 709"/>
                <a:gd name="T6" fmla="*/ 2147483646 w 516"/>
                <a:gd name="T7" fmla="*/ 2147483646 h 709"/>
                <a:gd name="T8" fmla="*/ 2147483646 w 516"/>
                <a:gd name="T9" fmla="*/ 2147483646 h 709"/>
                <a:gd name="T10" fmla="*/ 2147483646 w 516"/>
                <a:gd name="T11" fmla="*/ 2147483646 h 709"/>
                <a:gd name="T12" fmla="*/ 2147483646 w 516"/>
                <a:gd name="T13" fmla="*/ 2147483646 h 709"/>
                <a:gd name="T14" fmla="*/ 2147483646 w 516"/>
                <a:gd name="T15" fmla="*/ 0 h 709"/>
                <a:gd name="T16" fmla="*/ 2147483646 w 516"/>
                <a:gd name="T17" fmla="*/ 2147483646 h 709"/>
                <a:gd name="T18" fmla="*/ 2147483646 w 516"/>
                <a:gd name="T19" fmla="*/ 2147483646 h 709"/>
                <a:gd name="T20" fmla="*/ 2147483646 w 516"/>
                <a:gd name="T21" fmla="*/ 2147483646 h 709"/>
                <a:gd name="T22" fmla="*/ 2147483646 w 516"/>
                <a:gd name="T23" fmla="*/ 2147483646 h 709"/>
                <a:gd name="T24" fmla="*/ 2147483646 w 516"/>
                <a:gd name="T25" fmla="*/ 2147483646 h 709"/>
                <a:gd name="T26" fmla="*/ 2147483646 w 516"/>
                <a:gd name="T27" fmla="*/ 2147483646 h 709"/>
                <a:gd name="T28" fmla="*/ 2147483646 w 516"/>
                <a:gd name="T29" fmla="*/ 2147483646 h 709"/>
                <a:gd name="T30" fmla="*/ 2147483646 w 516"/>
                <a:gd name="T31" fmla="*/ 2147483646 h 709"/>
                <a:gd name="T32" fmla="*/ 2147483646 w 516"/>
                <a:gd name="T33" fmla="*/ 2147483646 h 709"/>
                <a:gd name="T34" fmla="*/ 2147483646 w 516"/>
                <a:gd name="T35" fmla="*/ 2147483646 h 709"/>
                <a:gd name="T36" fmla="*/ 2147483646 w 516"/>
                <a:gd name="T37" fmla="*/ 2147483646 h 709"/>
                <a:gd name="T38" fmla="*/ 0 w 516"/>
                <a:gd name="T39" fmla="*/ 2147483646 h 709"/>
                <a:gd name="T40" fmla="*/ 2147483646 w 516"/>
                <a:gd name="T41" fmla="*/ 2147483646 h 709"/>
                <a:gd name="T42" fmla="*/ 2147483646 w 516"/>
                <a:gd name="T43" fmla="*/ 2147483646 h 709"/>
                <a:gd name="T44" fmla="*/ 2147483646 w 516"/>
                <a:gd name="T45" fmla="*/ 2147483646 h 709"/>
                <a:gd name="T46" fmla="*/ 2147483646 w 516"/>
                <a:gd name="T47" fmla="*/ 2147483646 h 709"/>
                <a:gd name="T48" fmla="*/ 2147483646 w 516"/>
                <a:gd name="T49" fmla="*/ 2147483646 h 709"/>
                <a:gd name="T50" fmla="*/ 2147483646 w 516"/>
                <a:gd name="T51" fmla="*/ 2147483646 h 709"/>
                <a:gd name="T52" fmla="*/ 2147483646 w 516"/>
                <a:gd name="T53" fmla="*/ 2147483646 h 709"/>
                <a:gd name="T54" fmla="*/ 2147483646 w 516"/>
                <a:gd name="T55" fmla="*/ 2147483646 h 709"/>
                <a:gd name="T56" fmla="*/ 2147483646 w 516"/>
                <a:gd name="T57" fmla="*/ 2147483646 h 709"/>
                <a:gd name="T58" fmla="*/ 2147483646 w 516"/>
                <a:gd name="T59" fmla="*/ 2147483646 h 709"/>
                <a:gd name="T60" fmla="*/ 2147483646 w 516"/>
                <a:gd name="T61" fmla="*/ 2147483646 h 709"/>
                <a:gd name="T62" fmla="*/ 2147483646 w 516"/>
                <a:gd name="T63" fmla="*/ 2147483646 h 709"/>
                <a:gd name="T64" fmla="*/ 2147483646 w 516"/>
                <a:gd name="T65" fmla="*/ 2147483646 h 709"/>
                <a:gd name="T66" fmla="*/ 2147483646 w 516"/>
                <a:gd name="T67" fmla="*/ 2147483646 h 709"/>
                <a:gd name="T68" fmla="*/ 2147483646 w 516"/>
                <a:gd name="T69" fmla="*/ 2147483646 h 709"/>
                <a:gd name="T70" fmla="*/ 2147483646 w 516"/>
                <a:gd name="T71" fmla="*/ 2147483646 h 709"/>
                <a:gd name="T72" fmla="*/ 2147483646 w 516"/>
                <a:gd name="T73" fmla="*/ 2147483646 h 709"/>
                <a:gd name="T74" fmla="*/ 2147483646 w 516"/>
                <a:gd name="T75" fmla="*/ 2147483646 h 709"/>
                <a:gd name="T76" fmla="*/ 2147483646 w 516"/>
                <a:gd name="T77" fmla="*/ 2147483646 h 709"/>
                <a:gd name="T78" fmla="*/ 2147483646 w 516"/>
                <a:gd name="T79" fmla="*/ 2147483646 h 709"/>
                <a:gd name="T80" fmla="*/ 2147483646 w 516"/>
                <a:gd name="T81" fmla="*/ 2147483646 h 709"/>
                <a:gd name="T82" fmla="*/ 2147483646 w 516"/>
                <a:gd name="T83" fmla="*/ 2147483646 h 709"/>
                <a:gd name="T84" fmla="*/ 2147483646 w 516"/>
                <a:gd name="T85" fmla="*/ 2147483646 h 709"/>
                <a:gd name="T86" fmla="*/ 2147483646 w 516"/>
                <a:gd name="T87" fmla="*/ 2147483646 h 709"/>
                <a:gd name="T88" fmla="*/ 2147483646 w 516"/>
                <a:gd name="T89" fmla="*/ 2147483646 h 709"/>
                <a:gd name="T90" fmla="*/ 2147483646 w 516"/>
                <a:gd name="T91" fmla="*/ 2147483646 h 709"/>
                <a:gd name="T92" fmla="*/ 2147483646 w 516"/>
                <a:gd name="T93" fmla="*/ 2147483646 h 709"/>
                <a:gd name="T94" fmla="*/ 2147483646 w 516"/>
                <a:gd name="T95" fmla="*/ 2147483646 h 7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516" h="709">
                  <a:moveTo>
                    <a:pt x="504" y="96"/>
                  </a:moveTo>
                  <a:lnTo>
                    <a:pt x="486" y="78"/>
                  </a:lnTo>
                  <a:lnTo>
                    <a:pt x="432" y="84"/>
                  </a:lnTo>
                  <a:lnTo>
                    <a:pt x="354" y="48"/>
                  </a:lnTo>
                  <a:lnTo>
                    <a:pt x="318" y="54"/>
                  </a:lnTo>
                  <a:lnTo>
                    <a:pt x="288" y="36"/>
                  </a:lnTo>
                  <a:lnTo>
                    <a:pt x="282" y="18"/>
                  </a:lnTo>
                  <a:lnTo>
                    <a:pt x="228" y="0"/>
                  </a:lnTo>
                  <a:lnTo>
                    <a:pt x="198" y="24"/>
                  </a:lnTo>
                  <a:lnTo>
                    <a:pt x="150" y="42"/>
                  </a:lnTo>
                  <a:lnTo>
                    <a:pt x="114" y="66"/>
                  </a:lnTo>
                  <a:lnTo>
                    <a:pt x="90" y="126"/>
                  </a:lnTo>
                  <a:lnTo>
                    <a:pt x="42" y="138"/>
                  </a:lnTo>
                  <a:lnTo>
                    <a:pt x="42" y="174"/>
                  </a:lnTo>
                  <a:lnTo>
                    <a:pt x="78" y="222"/>
                  </a:lnTo>
                  <a:lnTo>
                    <a:pt x="114" y="240"/>
                  </a:lnTo>
                  <a:lnTo>
                    <a:pt x="114" y="264"/>
                  </a:lnTo>
                  <a:lnTo>
                    <a:pt x="90" y="276"/>
                  </a:lnTo>
                  <a:lnTo>
                    <a:pt x="60" y="264"/>
                  </a:lnTo>
                  <a:lnTo>
                    <a:pt x="0" y="306"/>
                  </a:lnTo>
                  <a:lnTo>
                    <a:pt x="18" y="324"/>
                  </a:lnTo>
                  <a:lnTo>
                    <a:pt x="42" y="348"/>
                  </a:lnTo>
                  <a:lnTo>
                    <a:pt x="96" y="348"/>
                  </a:lnTo>
                  <a:lnTo>
                    <a:pt x="138" y="354"/>
                  </a:lnTo>
                  <a:lnTo>
                    <a:pt x="120" y="396"/>
                  </a:lnTo>
                  <a:lnTo>
                    <a:pt x="72" y="414"/>
                  </a:lnTo>
                  <a:lnTo>
                    <a:pt x="36" y="438"/>
                  </a:lnTo>
                  <a:lnTo>
                    <a:pt x="30" y="468"/>
                  </a:lnTo>
                  <a:lnTo>
                    <a:pt x="72" y="498"/>
                  </a:lnTo>
                  <a:lnTo>
                    <a:pt x="78" y="529"/>
                  </a:lnTo>
                  <a:lnTo>
                    <a:pt x="108" y="541"/>
                  </a:lnTo>
                  <a:lnTo>
                    <a:pt x="114" y="583"/>
                  </a:lnTo>
                  <a:lnTo>
                    <a:pt x="156" y="577"/>
                  </a:lnTo>
                  <a:lnTo>
                    <a:pt x="210" y="577"/>
                  </a:lnTo>
                  <a:lnTo>
                    <a:pt x="180" y="631"/>
                  </a:lnTo>
                  <a:lnTo>
                    <a:pt x="90" y="709"/>
                  </a:lnTo>
                  <a:lnTo>
                    <a:pt x="192" y="655"/>
                  </a:lnTo>
                  <a:lnTo>
                    <a:pt x="270" y="571"/>
                  </a:lnTo>
                  <a:lnTo>
                    <a:pt x="264" y="553"/>
                  </a:lnTo>
                  <a:lnTo>
                    <a:pt x="312" y="492"/>
                  </a:lnTo>
                  <a:lnTo>
                    <a:pt x="324" y="517"/>
                  </a:lnTo>
                  <a:lnTo>
                    <a:pt x="330" y="547"/>
                  </a:lnTo>
                  <a:lnTo>
                    <a:pt x="366" y="517"/>
                  </a:lnTo>
                  <a:lnTo>
                    <a:pt x="408" y="492"/>
                  </a:lnTo>
                  <a:lnTo>
                    <a:pt x="426" y="505"/>
                  </a:lnTo>
                  <a:lnTo>
                    <a:pt x="516" y="523"/>
                  </a:lnTo>
                  <a:lnTo>
                    <a:pt x="516" y="96"/>
                  </a:lnTo>
                  <a:lnTo>
                    <a:pt x="504" y="96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2" name="Freeform 398"/>
            <p:cNvSpPr>
              <a:spLocks/>
            </p:cNvSpPr>
            <p:nvPr/>
          </p:nvSpPr>
          <p:spPr bwMode="auto">
            <a:xfrm>
              <a:off x="1234240" y="2009755"/>
              <a:ext cx="1951352" cy="1377828"/>
            </a:xfrm>
            <a:custGeom>
              <a:avLst/>
              <a:gdLst>
                <a:gd name="T0" fmla="*/ 2147483646 w 1622"/>
                <a:gd name="T1" fmla="*/ 2147483646 h 1117"/>
                <a:gd name="T2" fmla="*/ 2147483646 w 1622"/>
                <a:gd name="T3" fmla="*/ 2147483646 h 1117"/>
                <a:gd name="T4" fmla="*/ 2147483646 w 1622"/>
                <a:gd name="T5" fmla="*/ 2147483646 h 1117"/>
                <a:gd name="T6" fmla="*/ 2147483646 w 1622"/>
                <a:gd name="T7" fmla="*/ 2147483646 h 1117"/>
                <a:gd name="T8" fmla="*/ 2147483646 w 1622"/>
                <a:gd name="T9" fmla="*/ 2147483646 h 1117"/>
                <a:gd name="T10" fmla="*/ 2147483646 w 1622"/>
                <a:gd name="T11" fmla="*/ 2147483646 h 1117"/>
                <a:gd name="T12" fmla="*/ 2147483646 w 1622"/>
                <a:gd name="T13" fmla="*/ 2147483646 h 1117"/>
                <a:gd name="T14" fmla="*/ 2147483646 w 1622"/>
                <a:gd name="T15" fmla="*/ 2147483646 h 1117"/>
                <a:gd name="T16" fmla="*/ 2147483646 w 1622"/>
                <a:gd name="T17" fmla="*/ 2147483646 h 1117"/>
                <a:gd name="T18" fmla="*/ 2147483646 w 1622"/>
                <a:gd name="T19" fmla="*/ 2147483646 h 1117"/>
                <a:gd name="T20" fmla="*/ 2147483646 w 1622"/>
                <a:gd name="T21" fmla="*/ 2147483646 h 1117"/>
                <a:gd name="T22" fmla="*/ 2147483646 w 1622"/>
                <a:gd name="T23" fmla="*/ 2147483646 h 1117"/>
                <a:gd name="T24" fmla="*/ 2147483646 w 1622"/>
                <a:gd name="T25" fmla="*/ 2147483646 h 1117"/>
                <a:gd name="T26" fmla="*/ 2147483646 w 1622"/>
                <a:gd name="T27" fmla="*/ 2147483646 h 1117"/>
                <a:gd name="T28" fmla="*/ 2147483646 w 1622"/>
                <a:gd name="T29" fmla="*/ 2147483646 h 1117"/>
                <a:gd name="T30" fmla="*/ 2147483646 w 1622"/>
                <a:gd name="T31" fmla="*/ 2147483646 h 1117"/>
                <a:gd name="T32" fmla="*/ 2147483646 w 1622"/>
                <a:gd name="T33" fmla="*/ 2147483646 h 1117"/>
                <a:gd name="T34" fmla="*/ 2147483646 w 1622"/>
                <a:gd name="T35" fmla="*/ 2147483646 h 1117"/>
                <a:gd name="T36" fmla="*/ 2147483646 w 1622"/>
                <a:gd name="T37" fmla="*/ 2147483646 h 1117"/>
                <a:gd name="T38" fmla="*/ 2147483646 w 1622"/>
                <a:gd name="T39" fmla="*/ 2147483646 h 1117"/>
                <a:gd name="T40" fmla="*/ 2147483646 w 1622"/>
                <a:gd name="T41" fmla="*/ 2147483646 h 1117"/>
                <a:gd name="T42" fmla="*/ 2147483646 w 1622"/>
                <a:gd name="T43" fmla="*/ 2147483646 h 1117"/>
                <a:gd name="T44" fmla="*/ 2147483646 w 1622"/>
                <a:gd name="T45" fmla="*/ 2147483646 h 1117"/>
                <a:gd name="T46" fmla="*/ 2147483646 w 1622"/>
                <a:gd name="T47" fmla="*/ 2147483646 h 1117"/>
                <a:gd name="T48" fmla="*/ 2147483646 w 1622"/>
                <a:gd name="T49" fmla="*/ 2147483646 h 1117"/>
                <a:gd name="T50" fmla="*/ 2147483646 w 1622"/>
                <a:gd name="T51" fmla="*/ 2147483646 h 1117"/>
                <a:gd name="T52" fmla="*/ 2147483646 w 1622"/>
                <a:gd name="T53" fmla="*/ 2147483646 h 1117"/>
                <a:gd name="T54" fmla="*/ 2147483646 w 1622"/>
                <a:gd name="T55" fmla="*/ 2147483646 h 1117"/>
                <a:gd name="T56" fmla="*/ 2147483646 w 1622"/>
                <a:gd name="T57" fmla="*/ 2147483646 h 1117"/>
                <a:gd name="T58" fmla="*/ 2147483646 w 1622"/>
                <a:gd name="T59" fmla="*/ 2147483646 h 1117"/>
                <a:gd name="T60" fmla="*/ 2147483646 w 1622"/>
                <a:gd name="T61" fmla="*/ 2147483646 h 1117"/>
                <a:gd name="T62" fmla="*/ 2147483646 w 1622"/>
                <a:gd name="T63" fmla="*/ 2147483646 h 1117"/>
                <a:gd name="T64" fmla="*/ 2147483646 w 1622"/>
                <a:gd name="T65" fmla="*/ 2147483646 h 1117"/>
                <a:gd name="T66" fmla="*/ 2147483646 w 1622"/>
                <a:gd name="T67" fmla="*/ 2147483646 h 1117"/>
                <a:gd name="T68" fmla="*/ 2147483646 w 1622"/>
                <a:gd name="T69" fmla="*/ 2147483646 h 1117"/>
                <a:gd name="T70" fmla="*/ 2147483646 w 1622"/>
                <a:gd name="T71" fmla="*/ 2147483646 h 1117"/>
                <a:gd name="T72" fmla="*/ 2147483646 w 1622"/>
                <a:gd name="T73" fmla="*/ 2147483646 h 1117"/>
                <a:gd name="T74" fmla="*/ 2147483646 w 1622"/>
                <a:gd name="T75" fmla="*/ 2147483646 h 1117"/>
                <a:gd name="T76" fmla="*/ 2147483646 w 1622"/>
                <a:gd name="T77" fmla="*/ 2147483646 h 1117"/>
                <a:gd name="T78" fmla="*/ 2147483646 w 1622"/>
                <a:gd name="T79" fmla="*/ 2147483646 h 1117"/>
                <a:gd name="T80" fmla="*/ 2147483646 w 1622"/>
                <a:gd name="T81" fmla="*/ 0 h 1117"/>
                <a:gd name="T82" fmla="*/ 2147483646 w 1622"/>
                <a:gd name="T83" fmla="*/ 2147483646 h 1117"/>
                <a:gd name="T84" fmla="*/ 2147483646 w 1622"/>
                <a:gd name="T85" fmla="*/ 2147483646 h 1117"/>
                <a:gd name="T86" fmla="*/ 2147483646 w 1622"/>
                <a:gd name="T87" fmla="*/ 2147483646 h 1117"/>
                <a:gd name="T88" fmla="*/ 2147483646 w 1622"/>
                <a:gd name="T89" fmla="*/ 2147483646 h 1117"/>
                <a:gd name="T90" fmla="*/ 2147483646 w 1622"/>
                <a:gd name="T91" fmla="*/ 2147483646 h 1117"/>
                <a:gd name="T92" fmla="*/ 2147483646 w 1622"/>
                <a:gd name="T93" fmla="*/ 2147483646 h 1117"/>
                <a:gd name="T94" fmla="*/ 2147483646 w 1622"/>
                <a:gd name="T95" fmla="*/ 2147483646 h 1117"/>
                <a:gd name="T96" fmla="*/ 2147483646 w 1622"/>
                <a:gd name="T97" fmla="*/ 2147483646 h 1117"/>
                <a:gd name="T98" fmla="*/ 2147483646 w 1622"/>
                <a:gd name="T99" fmla="*/ 2147483646 h 1117"/>
                <a:gd name="T100" fmla="*/ 2147483646 w 1622"/>
                <a:gd name="T101" fmla="*/ 2147483646 h 1117"/>
                <a:gd name="T102" fmla="*/ 2147483646 w 1622"/>
                <a:gd name="T103" fmla="*/ 2147483646 h 1117"/>
                <a:gd name="T104" fmla="*/ 2147483646 w 1622"/>
                <a:gd name="T105" fmla="*/ 2147483646 h 1117"/>
                <a:gd name="T106" fmla="*/ 2147483646 w 1622"/>
                <a:gd name="T107" fmla="*/ 2147483646 h 1117"/>
                <a:gd name="T108" fmla="*/ 2147483646 w 1622"/>
                <a:gd name="T109" fmla="*/ 2147483646 h 1117"/>
                <a:gd name="T110" fmla="*/ 0 w 1622"/>
                <a:gd name="T111" fmla="*/ 2147483646 h 1117"/>
                <a:gd name="T112" fmla="*/ 2147483646 w 1622"/>
                <a:gd name="T113" fmla="*/ 2147483646 h 1117"/>
                <a:gd name="T114" fmla="*/ 2147483646 w 1622"/>
                <a:gd name="T115" fmla="*/ 2147483646 h 1117"/>
                <a:gd name="T116" fmla="*/ 2147483646 w 1622"/>
                <a:gd name="T117" fmla="*/ 2147483646 h 1117"/>
                <a:gd name="T118" fmla="*/ 2147483646 w 1622"/>
                <a:gd name="T119" fmla="*/ 2147483646 h 1117"/>
                <a:gd name="T120" fmla="*/ 2147483646 w 1622"/>
                <a:gd name="T121" fmla="*/ 2147483646 h 1117"/>
                <a:gd name="T122" fmla="*/ 2147483646 w 1622"/>
                <a:gd name="T123" fmla="*/ 2147483646 h 111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622" h="1117">
                  <a:moveTo>
                    <a:pt x="931" y="943"/>
                  </a:moveTo>
                  <a:lnTo>
                    <a:pt x="973" y="955"/>
                  </a:lnTo>
                  <a:lnTo>
                    <a:pt x="1075" y="1003"/>
                  </a:lnTo>
                  <a:lnTo>
                    <a:pt x="1111" y="1081"/>
                  </a:lnTo>
                  <a:lnTo>
                    <a:pt x="1111" y="1117"/>
                  </a:lnTo>
                  <a:lnTo>
                    <a:pt x="1190" y="1093"/>
                  </a:lnTo>
                  <a:lnTo>
                    <a:pt x="1232" y="1057"/>
                  </a:lnTo>
                  <a:lnTo>
                    <a:pt x="1262" y="1051"/>
                  </a:lnTo>
                  <a:lnTo>
                    <a:pt x="1322" y="1039"/>
                  </a:lnTo>
                  <a:lnTo>
                    <a:pt x="1370" y="979"/>
                  </a:lnTo>
                  <a:lnTo>
                    <a:pt x="1394" y="985"/>
                  </a:lnTo>
                  <a:lnTo>
                    <a:pt x="1406" y="1045"/>
                  </a:lnTo>
                  <a:lnTo>
                    <a:pt x="1430" y="1027"/>
                  </a:lnTo>
                  <a:lnTo>
                    <a:pt x="1448" y="1033"/>
                  </a:lnTo>
                  <a:lnTo>
                    <a:pt x="1436" y="1051"/>
                  </a:lnTo>
                  <a:lnTo>
                    <a:pt x="1448" y="1075"/>
                  </a:lnTo>
                  <a:lnTo>
                    <a:pt x="1502" y="1033"/>
                  </a:lnTo>
                  <a:lnTo>
                    <a:pt x="1520" y="1009"/>
                  </a:lnTo>
                  <a:lnTo>
                    <a:pt x="1466" y="1003"/>
                  </a:lnTo>
                  <a:lnTo>
                    <a:pt x="1442" y="967"/>
                  </a:lnTo>
                  <a:lnTo>
                    <a:pt x="1460" y="949"/>
                  </a:lnTo>
                  <a:lnTo>
                    <a:pt x="1466" y="925"/>
                  </a:lnTo>
                  <a:lnTo>
                    <a:pt x="1382" y="943"/>
                  </a:lnTo>
                  <a:lnTo>
                    <a:pt x="1340" y="979"/>
                  </a:lnTo>
                  <a:lnTo>
                    <a:pt x="1358" y="937"/>
                  </a:lnTo>
                  <a:lnTo>
                    <a:pt x="1400" y="913"/>
                  </a:lnTo>
                  <a:lnTo>
                    <a:pt x="1424" y="889"/>
                  </a:lnTo>
                  <a:lnTo>
                    <a:pt x="1496" y="895"/>
                  </a:lnTo>
                  <a:lnTo>
                    <a:pt x="1550" y="889"/>
                  </a:lnTo>
                  <a:lnTo>
                    <a:pt x="1592" y="859"/>
                  </a:lnTo>
                  <a:lnTo>
                    <a:pt x="1622" y="835"/>
                  </a:lnTo>
                  <a:lnTo>
                    <a:pt x="1598" y="775"/>
                  </a:lnTo>
                  <a:lnTo>
                    <a:pt x="1592" y="745"/>
                  </a:lnTo>
                  <a:lnTo>
                    <a:pt x="1514" y="703"/>
                  </a:lnTo>
                  <a:lnTo>
                    <a:pt x="1514" y="679"/>
                  </a:lnTo>
                  <a:lnTo>
                    <a:pt x="1448" y="553"/>
                  </a:lnTo>
                  <a:lnTo>
                    <a:pt x="1430" y="607"/>
                  </a:lnTo>
                  <a:lnTo>
                    <a:pt x="1388" y="619"/>
                  </a:lnTo>
                  <a:lnTo>
                    <a:pt x="1376" y="607"/>
                  </a:lnTo>
                  <a:lnTo>
                    <a:pt x="1358" y="607"/>
                  </a:lnTo>
                  <a:lnTo>
                    <a:pt x="1358" y="522"/>
                  </a:lnTo>
                  <a:lnTo>
                    <a:pt x="1322" y="516"/>
                  </a:lnTo>
                  <a:lnTo>
                    <a:pt x="1292" y="474"/>
                  </a:lnTo>
                  <a:lnTo>
                    <a:pt x="1262" y="480"/>
                  </a:lnTo>
                  <a:lnTo>
                    <a:pt x="1226" y="468"/>
                  </a:lnTo>
                  <a:lnTo>
                    <a:pt x="1202" y="474"/>
                  </a:lnTo>
                  <a:lnTo>
                    <a:pt x="1202" y="504"/>
                  </a:lnTo>
                  <a:lnTo>
                    <a:pt x="1202" y="535"/>
                  </a:lnTo>
                  <a:lnTo>
                    <a:pt x="1196" y="601"/>
                  </a:lnTo>
                  <a:lnTo>
                    <a:pt x="1190" y="625"/>
                  </a:lnTo>
                  <a:lnTo>
                    <a:pt x="1226" y="697"/>
                  </a:lnTo>
                  <a:lnTo>
                    <a:pt x="1166" y="751"/>
                  </a:lnTo>
                  <a:lnTo>
                    <a:pt x="1178" y="841"/>
                  </a:lnTo>
                  <a:lnTo>
                    <a:pt x="1154" y="859"/>
                  </a:lnTo>
                  <a:lnTo>
                    <a:pt x="1130" y="847"/>
                  </a:lnTo>
                  <a:lnTo>
                    <a:pt x="1117" y="739"/>
                  </a:lnTo>
                  <a:lnTo>
                    <a:pt x="1057" y="733"/>
                  </a:lnTo>
                  <a:lnTo>
                    <a:pt x="943" y="667"/>
                  </a:lnTo>
                  <a:lnTo>
                    <a:pt x="919" y="667"/>
                  </a:lnTo>
                  <a:lnTo>
                    <a:pt x="901" y="613"/>
                  </a:lnTo>
                  <a:lnTo>
                    <a:pt x="883" y="595"/>
                  </a:lnTo>
                  <a:lnTo>
                    <a:pt x="931" y="450"/>
                  </a:lnTo>
                  <a:lnTo>
                    <a:pt x="961" y="420"/>
                  </a:lnTo>
                  <a:lnTo>
                    <a:pt x="991" y="402"/>
                  </a:lnTo>
                  <a:lnTo>
                    <a:pt x="1009" y="402"/>
                  </a:lnTo>
                  <a:lnTo>
                    <a:pt x="1027" y="342"/>
                  </a:lnTo>
                  <a:lnTo>
                    <a:pt x="1039" y="294"/>
                  </a:lnTo>
                  <a:lnTo>
                    <a:pt x="1099" y="282"/>
                  </a:lnTo>
                  <a:lnTo>
                    <a:pt x="1130" y="258"/>
                  </a:lnTo>
                  <a:lnTo>
                    <a:pt x="1111" y="204"/>
                  </a:lnTo>
                  <a:lnTo>
                    <a:pt x="1124" y="168"/>
                  </a:lnTo>
                  <a:lnTo>
                    <a:pt x="1099" y="138"/>
                  </a:lnTo>
                  <a:lnTo>
                    <a:pt x="1063" y="132"/>
                  </a:lnTo>
                  <a:lnTo>
                    <a:pt x="1051" y="192"/>
                  </a:lnTo>
                  <a:lnTo>
                    <a:pt x="1015" y="246"/>
                  </a:lnTo>
                  <a:lnTo>
                    <a:pt x="1003" y="180"/>
                  </a:lnTo>
                  <a:lnTo>
                    <a:pt x="985" y="156"/>
                  </a:lnTo>
                  <a:lnTo>
                    <a:pt x="961" y="186"/>
                  </a:lnTo>
                  <a:lnTo>
                    <a:pt x="949" y="156"/>
                  </a:lnTo>
                  <a:lnTo>
                    <a:pt x="925" y="114"/>
                  </a:lnTo>
                  <a:lnTo>
                    <a:pt x="913" y="60"/>
                  </a:lnTo>
                  <a:lnTo>
                    <a:pt x="877" y="0"/>
                  </a:lnTo>
                  <a:lnTo>
                    <a:pt x="847" y="84"/>
                  </a:lnTo>
                  <a:lnTo>
                    <a:pt x="847" y="114"/>
                  </a:lnTo>
                  <a:lnTo>
                    <a:pt x="889" y="150"/>
                  </a:lnTo>
                  <a:lnTo>
                    <a:pt x="895" y="186"/>
                  </a:lnTo>
                  <a:lnTo>
                    <a:pt x="865" y="216"/>
                  </a:lnTo>
                  <a:lnTo>
                    <a:pt x="847" y="204"/>
                  </a:lnTo>
                  <a:lnTo>
                    <a:pt x="823" y="204"/>
                  </a:lnTo>
                  <a:lnTo>
                    <a:pt x="811" y="234"/>
                  </a:lnTo>
                  <a:lnTo>
                    <a:pt x="769" y="222"/>
                  </a:lnTo>
                  <a:lnTo>
                    <a:pt x="709" y="222"/>
                  </a:lnTo>
                  <a:lnTo>
                    <a:pt x="673" y="198"/>
                  </a:lnTo>
                  <a:lnTo>
                    <a:pt x="619" y="210"/>
                  </a:lnTo>
                  <a:lnTo>
                    <a:pt x="625" y="228"/>
                  </a:lnTo>
                  <a:lnTo>
                    <a:pt x="631" y="264"/>
                  </a:lnTo>
                  <a:lnTo>
                    <a:pt x="613" y="258"/>
                  </a:lnTo>
                  <a:lnTo>
                    <a:pt x="583" y="222"/>
                  </a:lnTo>
                  <a:lnTo>
                    <a:pt x="517" y="234"/>
                  </a:lnTo>
                  <a:lnTo>
                    <a:pt x="487" y="210"/>
                  </a:lnTo>
                  <a:lnTo>
                    <a:pt x="499" y="186"/>
                  </a:lnTo>
                  <a:lnTo>
                    <a:pt x="457" y="174"/>
                  </a:lnTo>
                  <a:lnTo>
                    <a:pt x="409" y="150"/>
                  </a:lnTo>
                  <a:lnTo>
                    <a:pt x="343" y="132"/>
                  </a:lnTo>
                  <a:lnTo>
                    <a:pt x="301" y="144"/>
                  </a:lnTo>
                  <a:lnTo>
                    <a:pt x="259" y="96"/>
                  </a:lnTo>
                  <a:lnTo>
                    <a:pt x="145" y="150"/>
                  </a:lnTo>
                  <a:lnTo>
                    <a:pt x="115" y="180"/>
                  </a:lnTo>
                  <a:lnTo>
                    <a:pt x="67" y="168"/>
                  </a:lnTo>
                  <a:lnTo>
                    <a:pt x="37" y="138"/>
                  </a:lnTo>
                  <a:lnTo>
                    <a:pt x="0" y="126"/>
                  </a:lnTo>
                  <a:lnTo>
                    <a:pt x="0" y="553"/>
                  </a:lnTo>
                  <a:lnTo>
                    <a:pt x="61" y="583"/>
                  </a:lnTo>
                  <a:lnTo>
                    <a:pt x="109" y="559"/>
                  </a:lnTo>
                  <a:lnTo>
                    <a:pt x="175" y="679"/>
                  </a:lnTo>
                  <a:lnTo>
                    <a:pt x="217" y="709"/>
                  </a:lnTo>
                  <a:lnTo>
                    <a:pt x="211" y="757"/>
                  </a:lnTo>
                  <a:lnTo>
                    <a:pt x="229" y="793"/>
                  </a:lnTo>
                  <a:lnTo>
                    <a:pt x="277" y="859"/>
                  </a:lnTo>
                  <a:lnTo>
                    <a:pt x="343" y="901"/>
                  </a:lnTo>
                  <a:lnTo>
                    <a:pt x="349" y="931"/>
                  </a:lnTo>
                  <a:lnTo>
                    <a:pt x="871" y="931"/>
                  </a:lnTo>
                  <a:lnTo>
                    <a:pt x="931" y="943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3" name="Freeform 399"/>
            <p:cNvSpPr>
              <a:spLocks/>
            </p:cNvSpPr>
            <p:nvPr/>
          </p:nvSpPr>
          <p:spPr bwMode="auto">
            <a:xfrm>
              <a:off x="1602585" y="3157191"/>
              <a:ext cx="1321365" cy="703220"/>
            </a:xfrm>
            <a:custGeom>
              <a:avLst/>
              <a:gdLst>
                <a:gd name="T0" fmla="*/ 2147483646 w 1099"/>
                <a:gd name="T1" fmla="*/ 2147483646 h 571"/>
                <a:gd name="T2" fmla="*/ 2147483646 w 1099"/>
                <a:gd name="T3" fmla="*/ 2147483646 h 571"/>
                <a:gd name="T4" fmla="*/ 2147483646 w 1099"/>
                <a:gd name="T5" fmla="*/ 2147483646 h 571"/>
                <a:gd name="T6" fmla="*/ 2147483646 w 1099"/>
                <a:gd name="T7" fmla="*/ 2147483646 h 571"/>
                <a:gd name="T8" fmla="*/ 2147483646 w 1099"/>
                <a:gd name="T9" fmla="*/ 2147483646 h 571"/>
                <a:gd name="T10" fmla="*/ 2147483646 w 1099"/>
                <a:gd name="T11" fmla="*/ 2147483646 h 571"/>
                <a:gd name="T12" fmla="*/ 2147483646 w 1099"/>
                <a:gd name="T13" fmla="*/ 2147483646 h 571"/>
                <a:gd name="T14" fmla="*/ 2147483646 w 1099"/>
                <a:gd name="T15" fmla="*/ 2147483646 h 571"/>
                <a:gd name="T16" fmla="*/ 2147483646 w 1099"/>
                <a:gd name="T17" fmla="*/ 2147483646 h 571"/>
                <a:gd name="T18" fmla="*/ 2147483646 w 1099"/>
                <a:gd name="T19" fmla="*/ 2147483646 h 571"/>
                <a:gd name="T20" fmla="*/ 2147483646 w 1099"/>
                <a:gd name="T21" fmla="*/ 2147483646 h 571"/>
                <a:gd name="T22" fmla="*/ 2147483646 w 1099"/>
                <a:gd name="T23" fmla="*/ 2147483646 h 571"/>
                <a:gd name="T24" fmla="*/ 2147483646 w 1099"/>
                <a:gd name="T25" fmla="*/ 2147483646 h 571"/>
                <a:gd name="T26" fmla="*/ 2147483646 w 1099"/>
                <a:gd name="T27" fmla="*/ 2147483646 h 571"/>
                <a:gd name="T28" fmla="*/ 2147483646 w 1099"/>
                <a:gd name="T29" fmla="*/ 2147483646 h 571"/>
                <a:gd name="T30" fmla="*/ 2147483646 w 1099"/>
                <a:gd name="T31" fmla="*/ 2147483646 h 571"/>
                <a:gd name="T32" fmla="*/ 2147483646 w 1099"/>
                <a:gd name="T33" fmla="*/ 2147483646 h 571"/>
                <a:gd name="T34" fmla="*/ 2147483646 w 1099"/>
                <a:gd name="T35" fmla="*/ 2147483646 h 571"/>
                <a:gd name="T36" fmla="*/ 2147483646 w 1099"/>
                <a:gd name="T37" fmla="*/ 2147483646 h 571"/>
                <a:gd name="T38" fmla="*/ 2147483646 w 1099"/>
                <a:gd name="T39" fmla="*/ 2147483646 h 571"/>
                <a:gd name="T40" fmla="*/ 2147483646 w 1099"/>
                <a:gd name="T41" fmla="*/ 2147483646 h 571"/>
                <a:gd name="T42" fmla="*/ 2147483646 w 1099"/>
                <a:gd name="T43" fmla="*/ 2147483646 h 571"/>
                <a:gd name="T44" fmla="*/ 2147483646 w 1099"/>
                <a:gd name="T45" fmla="*/ 2147483646 h 571"/>
                <a:gd name="T46" fmla="*/ 2147483646 w 1099"/>
                <a:gd name="T47" fmla="*/ 2147483646 h 571"/>
                <a:gd name="T48" fmla="*/ 2147483646 w 1099"/>
                <a:gd name="T49" fmla="*/ 2147483646 h 571"/>
                <a:gd name="T50" fmla="*/ 2147483646 w 1099"/>
                <a:gd name="T51" fmla="*/ 0 h 571"/>
                <a:gd name="T52" fmla="*/ 2147483646 w 1099"/>
                <a:gd name="T53" fmla="*/ 2147483646 h 571"/>
                <a:gd name="T54" fmla="*/ 2147483646 w 1099"/>
                <a:gd name="T55" fmla="*/ 2147483646 h 571"/>
                <a:gd name="T56" fmla="*/ 2147483646 w 1099"/>
                <a:gd name="T57" fmla="*/ 2147483646 h 571"/>
                <a:gd name="T58" fmla="*/ 0 w 1099"/>
                <a:gd name="T59" fmla="*/ 2147483646 h 571"/>
                <a:gd name="T60" fmla="*/ 2147483646 w 1099"/>
                <a:gd name="T61" fmla="*/ 2147483646 h 571"/>
                <a:gd name="T62" fmla="*/ 2147483646 w 1099"/>
                <a:gd name="T63" fmla="*/ 2147483646 h 571"/>
                <a:gd name="T64" fmla="*/ 2147483646 w 1099"/>
                <a:gd name="T65" fmla="*/ 2147483646 h 571"/>
                <a:gd name="T66" fmla="*/ 2147483646 w 1099"/>
                <a:gd name="T67" fmla="*/ 2147483646 h 57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99" h="571">
                  <a:moveTo>
                    <a:pt x="252" y="439"/>
                  </a:moveTo>
                  <a:lnTo>
                    <a:pt x="300" y="439"/>
                  </a:lnTo>
                  <a:lnTo>
                    <a:pt x="318" y="427"/>
                  </a:lnTo>
                  <a:lnTo>
                    <a:pt x="348" y="433"/>
                  </a:lnTo>
                  <a:lnTo>
                    <a:pt x="396" y="487"/>
                  </a:lnTo>
                  <a:lnTo>
                    <a:pt x="432" y="475"/>
                  </a:lnTo>
                  <a:lnTo>
                    <a:pt x="456" y="493"/>
                  </a:lnTo>
                  <a:lnTo>
                    <a:pt x="474" y="523"/>
                  </a:lnTo>
                  <a:lnTo>
                    <a:pt x="498" y="547"/>
                  </a:lnTo>
                  <a:lnTo>
                    <a:pt x="528" y="553"/>
                  </a:lnTo>
                  <a:lnTo>
                    <a:pt x="528" y="511"/>
                  </a:lnTo>
                  <a:lnTo>
                    <a:pt x="552" y="487"/>
                  </a:lnTo>
                  <a:lnTo>
                    <a:pt x="570" y="469"/>
                  </a:lnTo>
                  <a:lnTo>
                    <a:pt x="630" y="475"/>
                  </a:lnTo>
                  <a:lnTo>
                    <a:pt x="666" y="475"/>
                  </a:lnTo>
                  <a:lnTo>
                    <a:pt x="714" y="463"/>
                  </a:lnTo>
                  <a:lnTo>
                    <a:pt x="744" y="463"/>
                  </a:lnTo>
                  <a:lnTo>
                    <a:pt x="774" y="457"/>
                  </a:lnTo>
                  <a:lnTo>
                    <a:pt x="780" y="487"/>
                  </a:lnTo>
                  <a:lnTo>
                    <a:pt x="792" y="529"/>
                  </a:lnTo>
                  <a:lnTo>
                    <a:pt x="829" y="565"/>
                  </a:lnTo>
                  <a:lnTo>
                    <a:pt x="847" y="571"/>
                  </a:lnTo>
                  <a:lnTo>
                    <a:pt x="841" y="511"/>
                  </a:lnTo>
                  <a:lnTo>
                    <a:pt x="817" y="445"/>
                  </a:lnTo>
                  <a:lnTo>
                    <a:pt x="847" y="409"/>
                  </a:lnTo>
                  <a:lnTo>
                    <a:pt x="877" y="397"/>
                  </a:lnTo>
                  <a:lnTo>
                    <a:pt x="931" y="343"/>
                  </a:lnTo>
                  <a:lnTo>
                    <a:pt x="925" y="307"/>
                  </a:lnTo>
                  <a:lnTo>
                    <a:pt x="919" y="271"/>
                  </a:lnTo>
                  <a:lnTo>
                    <a:pt x="937" y="283"/>
                  </a:lnTo>
                  <a:lnTo>
                    <a:pt x="943" y="277"/>
                  </a:lnTo>
                  <a:lnTo>
                    <a:pt x="937" y="253"/>
                  </a:lnTo>
                  <a:lnTo>
                    <a:pt x="949" y="253"/>
                  </a:lnTo>
                  <a:lnTo>
                    <a:pt x="967" y="247"/>
                  </a:lnTo>
                  <a:lnTo>
                    <a:pt x="979" y="217"/>
                  </a:lnTo>
                  <a:lnTo>
                    <a:pt x="1003" y="211"/>
                  </a:lnTo>
                  <a:lnTo>
                    <a:pt x="1039" y="193"/>
                  </a:lnTo>
                  <a:lnTo>
                    <a:pt x="1039" y="144"/>
                  </a:lnTo>
                  <a:lnTo>
                    <a:pt x="1099" y="114"/>
                  </a:lnTo>
                  <a:lnTo>
                    <a:pt x="1087" y="54"/>
                  </a:lnTo>
                  <a:lnTo>
                    <a:pt x="1063" y="48"/>
                  </a:lnTo>
                  <a:lnTo>
                    <a:pt x="1015" y="108"/>
                  </a:lnTo>
                  <a:lnTo>
                    <a:pt x="955" y="120"/>
                  </a:lnTo>
                  <a:lnTo>
                    <a:pt x="925" y="126"/>
                  </a:lnTo>
                  <a:lnTo>
                    <a:pt x="883" y="162"/>
                  </a:lnTo>
                  <a:lnTo>
                    <a:pt x="804" y="186"/>
                  </a:lnTo>
                  <a:lnTo>
                    <a:pt x="804" y="150"/>
                  </a:lnTo>
                  <a:lnTo>
                    <a:pt x="768" y="72"/>
                  </a:lnTo>
                  <a:lnTo>
                    <a:pt x="666" y="24"/>
                  </a:lnTo>
                  <a:lnTo>
                    <a:pt x="624" y="12"/>
                  </a:lnTo>
                  <a:lnTo>
                    <a:pt x="564" y="0"/>
                  </a:lnTo>
                  <a:lnTo>
                    <a:pt x="42" y="0"/>
                  </a:lnTo>
                  <a:lnTo>
                    <a:pt x="48" y="36"/>
                  </a:lnTo>
                  <a:lnTo>
                    <a:pt x="30" y="48"/>
                  </a:lnTo>
                  <a:lnTo>
                    <a:pt x="36" y="24"/>
                  </a:lnTo>
                  <a:lnTo>
                    <a:pt x="0" y="12"/>
                  </a:lnTo>
                  <a:lnTo>
                    <a:pt x="18" y="78"/>
                  </a:lnTo>
                  <a:lnTo>
                    <a:pt x="12" y="126"/>
                  </a:lnTo>
                  <a:lnTo>
                    <a:pt x="0" y="174"/>
                  </a:lnTo>
                  <a:lnTo>
                    <a:pt x="12" y="211"/>
                  </a:lnTo>
                  <a:lnTo>
                    <a:pt x="12" y="235"/>
                  </a:lnTo>
                  <a:lnTo>
                    <a:pt x="42" y="295"/>
                  </a:lnTo>
                  <a:lnTo>
                    <a:pt x="66" y="337"/>
                  </a:lnTo>
                  <a:lnTo>
                    <a:pt x="84" y="367"/>
                  </a:lnTo>
                  <a:lnTo>
                    <a:pt x="138" y="403"/>
                  </a:lnTo>
                  <a:lnTo>
                    <a:pt x="144" y="415"/>
                  </a:lnTo>
                  <a:lnTo>
                    <a:pt x="192" y="409"/>
                  </a:lnTo>
                  <a:lnTo>
                    <a:pt x="252" y="439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4" name="Freeform 400"/>
            <p:cNvSpPr>
              <a:spLocks/>
            </p:cNvSpPr>
            <p:nvPr/>
          </p:nvSpPr>
          <p:spPr bwMode="auto">
            <a:xfrm>
              <a:off x="2445978" y="4111883"/>
              <a:ext cx="102318" cy="106914"/>
            </a:xfrm>
            <a:custGeom>
              <a:avLst/>
              <a:gdLst>
                <a:gd name="T0" fmla="*/ 2147483646 w 14"/>
                <a:gd name="T1" fmla="*/ 2147483646 h 14"/>
                <a:gd name="T2" fmla="*/ 2147483646 w 14"/>
                <a:gd name="T3" fmla="*/ 2147483646 h 14"/>
                <a:gd name="T4" fmla="*/ 2147483646 w 14"/>
                <a:gd name="T5" fmla="*/ 0 h 14"/>
                <a:gd name="T6" fmla="*/ 2147483646 w 14"/>
                <a:gd name="T7" fmla="*/ 2147483646 h 14"/>
                <a:gd name="T8" fmla="*/ 0 w 14"/>
                <a:gd name="T9" fmla="*/ 2147483646 h 14"/>
                <a:gd name="T10" fmla="*/ 2147483646 w 14"/>
                <a:gd name="T11" fmla="*/ 2147483646 h 14"/>
                <a:gd name="T12" fmla="*/ 2147483646 w 14"/>
                <a:gd name="T13" fmla="*/ 2147483646 h 14"/>
                <a:gd name="T14" fmla="*/ 2147483646 w 14"/>
                <a:gd name="T15" fmla="*/ 2147483646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4">
                  <a:moveTo>
                    <a:pt x="14" y="14"/>
                  </a:moveTo>
                  <a:cubicBezTo>
                    <a:pt x="14" y="12"/>
                    <a:pt x="13" y="11"/>
                    <a:pt x="13" y="1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3"/>
                    <a:pt x="9" y="13"/>
                    <a:pt x="9" y="13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5" name="Freeform 401"/>
            <p:cNvSpPr>
              <a:spLocks/>
            </p:cNvSpPr>
            <p:nvPr/>
          </p:nvSpPr>
          <p:spPr bwMode="auto">
            <a:xfrm>
              <a:off x="2482521" y="4209762"/>
              <a:ext cx="87701" cy="66256"/>
            </a:xfrm>
            <a:custGeom>
              <a:avLst/>
              <a:gdLst>
                <a:gd name="T0" fmla="*/ 2147483646 w 12"/>
                <a:gd name="T1" fmla="*/ 2147483646 h 9"/>
                <a:gd name="T2" fmla="*/ 2147483646 w 12"/>
                <a:gd name="T3" fmla="*/ 0 h 9"/>
                <a:gd name="T4" fmla="*/ 0 w 12"/>
                <a:gd name="T5" fmla="*/ 2147483646 h 9"/>
                <a:gd name="T6" fmla="*/ 2147483646 w 12"/>
                <a:gd name="T7" fmla="*/ 2147483646 h 9"/>
                <a:gd name="T8" fmla="*/ 2147483646 w 12"/>
                <a:gd name="T9" fmla="*/ 2147483646 h 9"/>
                <a:gd name="T10" fmla="*/ 2147483646 w 12"/>
                <a:gd name="T11" fmla="*/ 2147483646 h 9"/>
                <a:gd name="T12" fmla="*/ 2147483646 w 12"/>
                <a:gd name="T13" fmla="*/ 214748364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9">
                  <a:moveTo>
                    <a:pt x="9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4"/>
                    <a:pt x="10" y="2"/>
                    <a:pt x="9" y="1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6" name="Freeform 402"/>
            <p:cNvSpPr>
              <a:spLocks/>
            </p:cNvSpPr>
            <p:nvPr/>
          </p:nvSpPr>
          <p:spPr bwMode="auto">
            <a:xfrm>
              <a:off x="2562913" y="4247407"/>
              <a:ext cx="130091" cy="57221"/>
            </a:xfrm>
            <a:custGeom>
              <a:avLst/>
              <a:gdLst>
                <a:gd name="T0" fmla="*/ 2147483646 w 18"/>
                <a:gd name="T1" fmla="*/ 2147483646 h 8"/>
                <a:gd name="T2" fmla="*/ 2147483646 w 18"/>
                <a:gd name="T3" fmla="*/ 2147483646 h 8"/>
                <a:gd name="T4" fmla="*/ 2147483646 w 18"/>
                <a:gd name="T5" fmla="*/ 2147483646 h 8"/>
                <a:gd name="T6" fmla="*/ 2147483646 w 18"/>
                <a:gd name="T7" fmla="*/ 0 h 8"/>
                <a:gd name="T8" fmla="*/ 0 w 18"/>
                <a:gd name="T9" fmla="*/ 2147483646 h 8"/>
                <a:gd name="T10" fmla="*/ 2147483646 w 18"/>
                <a:gd name="T11" fmla="*/ 2147483646 h 8"/>
                <a:gd name="T12" fmla="*/ 2147483646 w 18"/>
                <a:gd name="T13" fmla="*/ 2147483646 h 8"/>
                <a:gd name="T14" fmla="*/ 2147483646 w 18"/>
                <a:gd name="T15" fmla="*/ 2147483646 h 8"/>
                <a:gd name="T16" fmla="*/ 2147483646 w 18"/>
                <a:gd name="T17" fmla="*/ 2147483646 h 8"/>
                <a:gd name="T18" fmla="*/ 2147483646 w 18"/>
                <a:gd name="T19" fmla="*/ 2147483646 h 8"/>
                <a:gd name="T20" fmla="*/ 2147483646 w 18"/>
                <a:gd name="T21" fmla="*/ 2147483646 h 8"/>
                <a:gd name="T22" fmla="*/ 2147483646 w 18"/>
                <a:gd name="T23" fmla="*/ 2147483646 h 8"/>
                <a:gd name="T24" fmla="*/ 2147483646 w 18"/>
                <a:gd name="T25" fmla="*/ 2147483646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" h="8">
                  <a:moveTo>
                    <a:pt x="14" y="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3" y="2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3" y="7"/>
                    <a:pt x="4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8" y="4"/>
                    <a:pt x="18" y="4"/>
                    <a:pt x="18" y="4"/>
                  </a:cubicBezTo>
                  <a:lnTo>
                    <a:pt x="14" y="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7" name="Freeform 403"/>
            <p:cNvSpPr>
              <a:spLocks/>
            </p:cNvSpPr>
            <p:nvPr/>
          </p:nvSpPr>
          <p:spPr bwMode="auto">
            <a:xfrm>
              <a:off x="2649153" y="4181151"/>
              <a:ext cx="267488" cy="302671"/>
            </a:xfrm>
            <a:custGeom>
              <a:avLst/>
              <a:gdLst>
                <a:gd name="T0" fmla="*/ 2147483646 w 37"/>
                <a:gd name="T1" fmla="*/ 2147483646 h 41"/>
                <a:gd name="T2" fmla="*/ 2147483646 w 37"/>
                <a:gd name="T3" fmla="*/ 2147483646 h 41"/>
                <a:gd name="T4" fmla="*/ 2147483646 w 37"/>
                <a:gd name="T5" fmla="*/ 2147483646 h 41"/>
                <a:gd name="T6" fmla="*/ 2147483646 w 37"/>
                <a:gd name="T7" fmla="*/ 2147483646 h 41"/>
                <a:gd name="T8" fmla="*/ 2147483646 w 37"/>
                <a:gd name="T9" fmla="*/ 2147483646 h 41"/>
                <a:gd name="T10" fmla="*/ 2147483646 w 37"/>
                <a:gd name="T11" fmla="*/ 2147483646 h 41"/>
                <a:gd name="T12" fmla="*/ 2147483646 w 37"/>
                <a:gd name="T13" fmla="*/ 2147483646 h 41"/>
                <a:gd name="T14" fmla="*/ 2147483646 w 37"/>
                <a:gd name="T15" fmla="*/ 2147483646 h 41"/>
                <a:gd name="T16" fmla="*/ 2147483646 w 37"/>
                <a:gd name="T17" fmla="*/ 2147483646 h 41"/>
                <a:gd name="T18" fmla="*/ 2147483646 w 37"/>
                <a:gd name="T19" fmla="*/ 2147483646 h 41"/>
                <a:gd name="T20" fmla="*/ 2147483646 w 37"/>
                <a:gd name="T21" fmla="*/ 0 h 41"/>
                <a:gd name="T22" fmla="*/ 2147483646 w 37"/>
                <a:gd name="T23" fmla="*/ 2147483646 h 41"/>
                <a:gd name="T24" fmla="*/ 2147483646 w 37"/>
                <a:gd name="T25" fmla="*/ 2147483646 h 41"/>
                <a:gd name="T26" fmla="*/ 2147483646 w 37"/>
                <a:gd name="T27" fmla="*/ 2147483646 h 41"/>
                <a:gd name="T28" fmla="*/ 2147483646 w 37"/>
                <a:gd name="T29" fmla="*/ 2147483646 h 41"/>
                <a:gd name="T30" fmla="*/ 2147483646 w 37"/>
                <a:gd name="T31" fmla="*/ 2147483646 h 41"/>
                <a:gd name="T32" fmla="*/ 2147483646 w 37"/>
                <a:gd name="T33" fmla="*/ 2147483646 h 41"/>
                <a:gd name="T34" fmla="*/ 2147483646 w 37"/>
                <a:gd name="T35" fmla="*/ 2147483646 h 41"/>
                <a:gd name="T36" fmla="*/ 2147483646 w 37"/>
                <a:gd name="T37" fmla="*/ 2147483646 h 41"/>
                <a:gd name="T38" fmla="*/ 2147483646 w 37"/>
                <a:gd name="T39" fmla="*/ 2147483646 h 41"/>
                <a:gd name="T40" fmla="*/ 2147483646 w 37"/>
                <a:gd name="T41" fmla="*/ 2147483646 h 41"/>
                <a:gd name="T42" fmla="*/ 2147483646 w 37"/>
                <a:gd name="T43" fmla="*/ 2147483646 h 41"/>
                <a:gd name="T44" fmla="*/ 0 w 37"/>
                <a:gd name="T45" fmla="*/ 2147483646 h 41"/>
                <a:gd name="T46" fmla="*/ 2147483646 w 37"/>
                <a:gd name="T47" fmla="*/ 2147483646 h 41"/>
                <a:gd name="T48" fmla="*/ 2147483646 w 37"/>
                <a:gd name="T49" fmla="*/ 2147483646 h 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41">
                  <a:moveTo>
                    <a:pt x="37" y="34"/>
                  </a:moveTo>
                  <a:cubicBezTo>
                    <a:pt x="37" y="34"/>
                    <a:pt x="37" y="34"/>
                    <a:pt x="37" y="34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12" y="41"/>
                    <a:pt x="12" y="41"/>
                    <a:pt x="12" y="41"/>
                  </a:cubicBezTo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8" name="Freeform 422"/>
            <p:cNvSpPr>
              <a:spLocks/>
            </p:cNvSpPr>
            <p:nvPr/>
          </p:nvSpPr>
          <p:spPr bwMode="auto">
            <a:xfrm>
              <a:off x="2409436" y="4090801"/>
              <a:ext cx="138860" cy="66256"/>
            </a:xfrm>
            <a:custGeom>
              <a:avLst/>
              <a:gdLst>
                <a:gd name="T0" fmla="*/ 2147483646 w 19"/>
                <a:gd name="T1" fmla="*/ 2147483646 h 9"/>
                <a:gd name="T2" fmla="*/ 2147483646 w 19"/>
                <a:gd name="T3" fmla="*/ 2147483646 h 9"/>
                <a:gd name="T4" fmla="*/ 2147483646 w 19"/>
                <a:gd name="T5" fmla="*/ 0 h 9"/>
                <a:gd name="T6" fmla="*/ 2147483646 w 19"/>
                <a:gd name="T7" fmla="*/ 2147483646 h 9"/>
                <a:gd name="T8" fmla="*/ 0 w 19"/>
                <a:gd name="T9" fmla="*/ 2147483646 h 9"/>
                <a:gd name="T10" fmla="*/ 0 w 19"/>
                <a:gd name="T11" fmla="*/ 2147483646 h 9"/>
                <a:gd name="T12" fmla="*/ 2147483646 w 19"/>
                <a:gd name="T13" fmla="*/ 2147483646 h 9"/>
                <a:gd name="T14" fmla="*/ 2147483646 w 19"/>
                <a:gd name="T15" fmla="*/ 2147483646 h 9"/>
                <a:gd name="T16" fmla="*/ 2147483646 w 19"/>
                <a:gd name="T17" fmla="*/ 214748364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9">
                  <a:moveTo>
                    <a:pt x="19" y="3"/>
                  </a:moveTo>
                  <a:cubicBezTo>
                    <a:pt x="19" y="3"/>
                    <a:pt x="10" y="1"/>
                    <a:pt x="8" y="1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2" y="6"/>
                    <a:pt x="12" y="6"/>
                    <a:pt x="12" y="6"/>
                  </a:cubicBezTo>
                  <a:lnTo>
                    <a:pt x="19" y="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9" name="Freeform 423"/>
            <p:cNvSpPr>
              <a:spLocks/>
            </p:cNvSpPr>
            <p:nvPr/>
          </p:nvSpPr>
          <p:spPr bwMode="auto">
            <a:xfrm>
              <a:off x="2336352" y="4051650"/>
              <a:ext cx="109626" cy="93361"/>
            </a:xfrm>
            <a:custGeom>
              <a:avLst/>
              <a:gdLst>
                <a:gd name="T0" fmla="*/ 2147483646 w 15"/>
                <a:gd name="T1" fmla="*/ 2147483646 h 12"/>
                <a:gd name="T2" fmla="*/ 2147483646 w 15"/>
                <a:gd name="T3" fmla="*/ 2147483646 h 12"/>
                <a:gd name="T4" fmla="*/ 2147483646 w 15"/>
                <a:gd name="T5" fmla="*/ 0 h 12"/>
                <a:gd name="T6" fmla="*/ 2147483646 w 15"/>
                <a:gd name="T7" fmla="*/ 0 h 12"/>
                <a:gd name="T8" fmla="*/ 2147483646 w 15"/>
                <a:gd name="T9" fmla="*/ 2147483646 h 12"/>
                <a:gd name="T10" fmla="*/ 2147483646 w 15"/>
                <a:gd name="T11" fmla="*/ 2147483646 h 12"/>
                <a:gd name="T12" fmla="*/ 2147483646 w 15"/>
                <a:gd name="T13" fmla="*/ 2147483646 h 12"/>
                <a:gd name="T14" fmla="*/ 2147483646 w 15"/>
                <a:gd name="T15" fmla="*/ 2147483646 h 12"/>
                <a:gd name="T16" fmla="*/ 0 w 15"/>
                <a:gd name="T17" fmla="*/ 2147483646 h 12"/>
                <a:gd name="T18" fmla="*/ 2147483646 w 15"/>
                <a:gd name="T19" fmla="*/ 2147483646 h 12"/>
                <a:gd name="T20" fmla="*/ 2147483646 w 15"/>
                <a:gd name="T21" fmla="*/ 2147483646 h 12"/>
                <a:gd name="T22" fmla="*/ 2147483646 w 15"/>
                <a:gd name="T23" fmla="*/ 2147483646 h 12"/>
                <a:gd name="T24" fmla="*/ 2147483646 w 15"/>
                <a:gd name="T25" fmla="*/ 2147483646 h 12"/>
                <a:gd name="T26" fmla="*/ 2147483646 w 15"/>
                <a:gd name="T27" fmla="*/ 2147483646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" h="12">
                  <a:moveTo>
                    <a:pt x="15" y="5"/>
                  </a:moveTo>
                  <a:cubicBezTo>
                    <a:pt x="13" y="5"/>
                    <a:pt x="11" y="4"/>
                    <a:pt x="11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5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0" name="Freeform 424"/>
            <p:cNvSpPr>
              <a:spLocks/>
            </p:cNvSpPr>
            <p:nvPr/>
          </p:nvSpPr>
          <p:spPr bwMode="auto">
            <a:xfrm>
              <a:off x="1775064" y="3660136"/>
              <a:ext cx="694301" cy="468311"/>
            </a:xfrm>
            <a:custGeom>
              <a:avLst/>
              <a:gdLst>
                <a:gd name="T0" fmla="*/ 2147483646 w 576"/>
                <a:gd name="T1" fmla="*/ 2147483646 h 379"/>
                <a:gd name="T2" fmla="*/ 2147483646 w 576"/>
                <a:gd name="T3" fmla="*/ 2147483646 h 379"/>
                <a:gd name="T4" fmla="*/ 2147483646 w 576"/>
                <a:gd name="T5" fmla="*/ 2147483646 h 379"/>
                <a:gd name="T6" fmla="*/ 2147483646 w 576"/>
                <a:gd name="T7" fmla="*/ 2147483646 h 379"/>
                <a:gd name="T8" fmla="*/ 2147483646 w 576"/>
                <a:gd name="T9" fmla="*/ 2147483646 h 379"/>
                <a:gd name="T10" fmla="*/ 2147483646 w 576"/>
                <a:gd name="T11" fmla="*/ 2147483646 h 379"/>
                <a:gd name="T12" fmla="*/ 2147483646 w 576"/>
                <a:gd name="T13" fmla="*/ 2147483646 h 379"/>
                <a:gd name="T14" fmla="*/ 2147483646 w 576"/>
                <a:gd name="T15" fmla="*/ 2147483646 h 379"/>
                <a:gd name="T16" fmla="*/ 2147483646 w 576"/>
                <a:gd name="T17" fmla="*/ 2147483646 h 379"/>
                <a:gd name="T18" fmla="*/ 2147483646 w 576"/>
                <a:gd name="T19" fmla="*/ 2147483646 h 379"/>
                <a:gd name="T20" fmla="*/ 2147483646 w 576"/>
                <a:gd name="T21" fmla="*/ 2147483646 h 379"/>
                <a:gd name="T22" fmla="*/ 2147483646 w 576"/>
                <a:gd name="T23" fmla="*/ 2147483646 h 379"/>
                <a:gd name="T24" fmla="*/ 2147483646 w 576"/>
                <a:gd name="T25" fmla="*/ 2147483646 h 379"/>
                <a:gd name="T26" fmla="*/ 2147483646 w 576"/>
                <a:gd name="T27" fmla="*/ 2147483646 h 379"/>
                <a:gd name="T28" fmla="*/ 2147483646 w 576"/>
                <a:gd name="T29" fmla="*/ 2147483646 h 379"/>
                <a:gd name="T30" fmla="*/ 2147483646 w 576"/>
                <a:gd name="T31" fmla="*/ 2147483646 h 379"/>
                <a:gd name="T32" fmla="*/ 2147483646 w 576"/>
                <a:gd name="T33" fmla="*/ 2147483646 h 379"/>
                <a:gd name="T34" fmla="*/ 2147483646 w 576"/>
                <a:gd name="T35" fmla="*/ 2147483646 h 379"/>
                <a:gd name="T36" fmla="*/ 2147483646 w 576"/>
                <a:gd name="T37" fmla="*/ 2147483646 h 379"/>
                <a:gd name="T38" fmla="*/ 2147483646 w 576"/>
                <a:gd name="T39" fmla="*/ 2147483646 h 379"/>
                <a:gd name="T40" fmla="*/ 2147483646 w 576"/>
                <a:gd name="T41" fmla="*/ 2147483646 h 379"/>
                <a:gd name="T42" fmla="*/ 2147483646 w 576"/>
                <a:gd name="T43" fmla="*/ 2147483646 h 379"/>
                <a:gd name="T44" fmla="*/ 2147483646 w 576"/>
                <a:gd name="T45" fmla="*/ 2147483646 h 379"/>
                <a:gd name="T46" fmla="*/ 2147483646 w 576"/>
                <a:gd name="T47" fmla="*/ 2147483646 h 379"/>
                <a:gd name="T48" fmla="*/ 2147483646 w 576"/>
                <a:gd name="T49" fmla="*/ 0 h 379"/>
                <a:gd name="T50" fmla="*/ 0 w 576"/>
                <a:gd name="T51" fmla="*/ 2147483646 h 379"/>
                <a:gd name="T52" fmla="*/ 2147483646 w 576"/>
                <a:gd name="T53" fmla="*/ 2147483646 h 379"/>
                <a:gd name="T54" fmla="*/ 2147483646 w 576"/>
                <a:gd name="T55" fmla="*/ 2147483646 h 379"/>
                <a:gd name="T56" fmla="*/ 2147483646 w 576"/>
                <a:gd name="T57" fmla="*/ 2147483646 h 379"/>
                <a:gd name="T58" fmla="*/ 2147483646 w 576"/>
                <a:gd name="T59" fmla="*/ 2147483646 h 379"/>
                <a:gd name="T60" fmla="*/ 2147483646 w 576"/>
                <a:gd name="T61" fmla="*/ 2147483646 h 379"/>
                <a:gd name="T62" fmla="*/ 2147483646 w 576"/>
                <a:gd name="T63" fmla="*/ 2147483646 h 379"/>
                <a:gd name="T64" fmla="*/ 2147483646 w 576"/>
                <a:gd name="T65" fmla="*/ 2147483646 h 379"/>
                <a:gd name="T66" fmla="*/ 2147483646 w 576"/>
                <a:gd name="T67" fmla="*/ 2147483646 h 379"/>
                <a:gd name="T68" fmla="*/ 2147483646 w 576"/>
                <a:gd name="T69" fmla="*/ 2147483646 h 379"/>
                <a:gd name="T70" fmla="*/ 2147483646 w 576"/>
                <a:gd name="T71" fmla="*/ 2147483646 h 379"/>
                <a:gd name="T72" fmla="*/ 2147483646 w 576"/>
                <a:gd name="T73" fmla="*/ 2147483646 h 379"/>
                <a:gd name="T74" fmla="*/ 2147483646 w 576"/>
                <a:gd name="T75" fmla="*/ 2147483646 h 379"/>
                <a:gd name="T76" fmla="*/ 2147483646 w 576"/>
                <a:gd name="T77" fmla="*/ 2147483646 h 379"/>
                <a:gd name="T78" fmla="*/ 2147483646 w 576"/>
                <a:gd name="T79" fmla="*/ 2147483646 h 379"/>
                <a:gd name="T80" fmla="*/ 2147483646 w 576"/>
                <a:gd name="T81" fmla="*/ 2147483646 h 379"/>
                <a:gd name="T82" fmla="*/ 2147483646 w 576"/>
                <a:gd name="T83" fmla="*/ 2147483646 h 379"/>
                <a:gd name="T84" fmla="*/ 2147483646 w 576"/>
                <a:gd name="T85" fmla="*/ 2147483646 h 379"/>
                <a:gd name="T86" fmla="*/ 2147483646 w 576"/>
                <a:gd name="T87" fmla="*/ 2147483646 h 379"/>
                <a:gd name="T88" fmla="*/ 2147483646 w 576"/>
                <a:gd name="T89" fmla="*/ 2147483646 h 379"/>
                <a:gd name="T90" fmla="*/ 2147483646 w 576"/>
                <a:gd name="T91" fmla="*/ 2147483646 h 379"/>
                <a:gd name="T92" fmla="*/ 2147483646 w 576"/>
                <a:gd name="T93" fmla="*/ 2147483646 h 379"/>
                <a:gd name="T94" fmla="*/ 2147483646 w 576"/>
                <a:gd name="T95" fmla="*/ 2147483646 h 379"/>
                <a:gd name="T96" fmla="*/ 2147483646 w 576"/>
                <a:gd name="T97" fmla="*/ 2147483646 h 379"/>
                <a:gd name="T98" fmla="*/ 2147483646 w 576"/>
                <a:gd name="T99" fmla="*/ 2147483646 h 379"/>
                <a:gd name="T100" fmla="*/ 2147483646 w 576"/>
                <a:gd name="T101" fmla="*/ 2147483646 h 379"/>
                <a:gd name="T102" fmla="*/ 2147483646 w 576"/>
                <a:gd name="T103" fmla="*/ 2147483646 h 379"/>
                <a:gd name="T104" fmla="*/ 2147483646 w 576"/>
                <a:gd name="T105" fmla="*/ 2147483646 h 379"/>
                <a:gd name="T106" fmla="*/ 2147483646 w 576"/>
                <a:gd name="T107" fmla="*/ 2147483646 h 379"/>
                <a:gd name="T108" fmla="*/ 2147483646 w 576"/>
                <a:gd name="T109" fmla="*/ 2147483646 h 379"/>
                <a:gd name="T110" fmla="*/ 2147483646 w 576"/>
                <a:gd name="T111" fmla="*/ 2147483646 h 37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76" h="379">
                  <a:moveTo>
                    <a:pt x="486" y="348"/>
                  </a:moveTo>
                  <a:lnTo>
                    <a:pt x="504" y="348"/>
                  </a:lnTo>
                  <a:lnTo>
                    <a:pt x="492" y="324"/>
                  </a:lnTo>
                  <a:lnTo>
                    <a:pt x="504" y="318"/>
                  </a:lnTo>
                  <a:lnTo>
                    <a:pt x="534" y="318"/>
                  </a:lnTo>
                  <a:lnTo>
                    <a:pt x="528" y="312"/>
                  </a:lnTo>
                  <a:lnTo>
                    <a:pt x="546" y="300"/>
                  </a:lnTo>
                  <a:lnTo>
                    <a:pt x="564" y="288"/>
                  </a:lnTo>
                  <a:lnTo>
                    <a:pt x="576" y="240"/>
                  </a:lnTo>
                  <a:lnTo>
                    <a:pt x="504" y="252"/>
                  </a:lnTo>
                  <a:lnTo>
                    <a:pt x="474" y="294"/>
                  </a:lnTo>
                  <a:lnTo>
                    <a:pt x="426" y="300"/>
                  </a:lnTo>
                  <a:lnTo>
                    <a:pt x="378" y="240"/>
                  </a:lnTo>
                  <a:lnTo>
                    <a:pt x="372" y="162"/>
                  </a:lnTo>
                  <a:lnTo>
                    <a:pt x="384" y="144"/>
                  </a:lnTo>
                  <a:lnTo>
                    <a:pt x="354" y="138"/>
                  </a:lnTo>
                  <a:lnTo>
                    <a:pt x="330" y="114"/>
                  </a:lnTo>
                  <a:lnTo>
                    <a:pt x="312" y="84"/>
                  </a:lnTo>
                  <a:lnTo>
                    <a:pt x="288" y="66"/>
                  </a:lnTo>
                  <a:lnTo>
                    <a:pt x="252" y="78"/>
                  </a:lnTo>
                  <a:lnTo>
                    <a:pt x="204" y="24"/>
                  </a:lnTo>
                  <a:lnTo>
                    <a:pt x="174" y="18"/>
                  </a:lnTo>
                  <a:lnTo>
                    <a:pt x="156" y="30"/>
                  </a:lnTo>
                  <a:lnTo>
                    <a:pt x="108" y="30"/>
                  </a:lnTo>
                  <a:lnTo>
                    <a:pt x="48" y="0"/>
                  </a:lnTo>
                  <a:lnTo>
                    <a:pt x="0" y="6"/>
                  </a:lnTo>
                  <a:lnTo>
                    <a:pt x="36" y="72"/>
                  </a:lnTo>
                  <a:lnTo>
                    <a:pt x="60" y="108"/>
                  </a:lnTo>
                  <a:lnTo>
                    <a:pt x="54" y="120"/>
                  </a:lnTo>
                  <a:lnTo>
                    <a:pt x="96" y="150"/>
                  </a:lnTo>
                  <a:lnTo>
                    <a:pt x="102" y="180"/>
                  </a:lnTo>
                  <a:lnTo>
                    <a:pt x="120" y="192"/>
                  </a:lnTo>
                  <a:lnTo>
                    <a:pt x="144" y="216"/>
                  </a:lnTo>
                  <a:lnTo>
                    <a:pt x="150" y="198"/>
                  </a:lnTo>
                  <a:lnTo>
                    <a:pt x="126" y="180"/>
                  </a:lnTo>
                  <a:lnTo>
                    <a:pt x="102" y="126"/>
                  </a:lnTo>
                  <a:lnTo>
                    <a:pt x="60" y="66"/>
                  </a:lnTo>
                  <a:lnTo>
                    <a:pt x="48" y="30"/>
                  </a:lnTo>
                  <a:lnTo>
                    <a:pt x="78" y="42"/>
                  </a:lnTo>
                  <a:lnTo>
                    <a:pt x="108" y="102"/>
                  </a:lnTo>
                  <a:lnTo>
                    <a:pt x="120" y="120"/>
                  </a:lnTo>
                  <a:lnTo>
                    <a:pt x="150" y="138"/>
                  </a:lnTo>
                  <a:lnTo>
                    <a:pt x="150" y="156"/>
                  </a:lnTo>
                  <a:lnTo>
                    <a:pt x="174" y="168"/>
                  </a:lnTo>
                  <a:lnTo>
                    <a:pt x="186" y="186"/>
                  </a:lnTo>
                  <a:lnTo>
                    <a:pt x="216" y="216"/>
                  </a:lnTo>
                  <a:lnTo>
                    <a:pt x="222" y="258"/>
                  </a:lnTo>
                  <a:lnTo>
                    <a:pt x="222" y="276"/>
                  </a:lnTo>
                  <a:lnTo>
                    <a:pt x="300" y="324"/>
                  </a:lnTo>
                  <a:lnTo>
                    <a:pt x="336" y="342"/>
                  </a:lnTo>
                  <a:lnTo>
                    <a:pt x="402" y="360"/>
                  </a:lnTo>
                  <a:lnTo>
                    <a:pt x="420" y="354"/>
                  </a:lnTo>
                  <a:lnTo>
                    <a:pt x="438" y="354"/>
                  </a:lnTo>
                  <a:lnTo>
                    <a:pt x="468" y="379"/>
                  </a:lnTo>
                  <a:lnTo>
                    <a:pt x="474" y="366"/>
                  </a:lnTo>
                  <a:lnTo>
                    <a:pt x="486" y="348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1" name="Freeform 425"/>
            <p:cNvSpPr>
              <a:spLocks/>
            </p:cNvSpPr>
            <p:nvPr/>
          </p:nvSpPr>
          <p:spPr bwMode="auto">
            <a:xfrm rot="20747712">
              <a:off x="2910795" y="1783881"/>
              <a:ext cx="748384" cy="850790"/>
            </a:xfrm>
            <a:custGeom>
              <a:avLst/>
              <a:gdLst>
                <a:gd name="T0" fmla="*/ 2147483646 w 1125"/>
                <a:gd name="T1" fmla="*/ 2147483646 h 2047"/>
                <a:gd name="T2" fmla="*/ 2147483646 w 1125"/>
                <a:gd name="T3" fmla="*/ 2147483646 h 2047"/>
                <a:gd name="T4" fmla="*/ 2147483646 w 1125"/>
                <a:gd name="T5" fmla="*/ 2147483646 h 2047"/>
                <a:gd name="T6" fmla="*/ 2147483646 w 1125"/>
                <a:gd name="T7" fmla="*/ 2147483646 h 2047"/>
                <a:gd name="T8" fmla="*/ 2147483646 w 1125"/>
                <a:gd name="T9" fmla="*/ 2147483646 h 2047"/>
                <a:gd name="T10" fmla="*/ 2147483646 w 1125"/>
                <a:gd name="T11" fmla="*/ 2147483646 h 2047"/>
                <a:gd name="T12" fmla="*/ 2147483646 w 1125"/>
                <a:gd name="T13" fmla="*/ 2147483646 h 2047"/>
                <a:gd name="T14" fmla="*/ 2147483646 w 1125"/>
                <a:gd name="T15" fmla="*/ 2147483646 h 2047"/>
                <a:gd name="T16" fmla="*/ 2147483646 w 1125"/>
                <a:gd name="T17" fmla="*/ 2147483646 h 2047"/>
                <a:gd name="T18" fmla="*/ 2147483646 w 1125"/>
                <a:gd name="T19" fmla="*/ 2147483646 h 2047"/>
                <a:gd name="T20" fmla="*/ 2147483646 w 1125"/>
                <a:gd name="T21" fmla="*/ 2147483646 h 2047"/>
                <a:gd name="T22" fmla="*/ 2147483646 w 1125"/>
                <a:gd name="T23" fmla="*/ 2147483646 h 2047"/>
                <a:gd name="T24" fmla="*/ 2147483646 w 1125"/>
                <a:gd name="T25" fmla="*/ 2147483646 h 2047"/>
                <a:gd name="T26" fmla="*/ 2147483646 w 1125"/>
                <a:gd name="T27" fmla="*/ 2147483646 h 2047"/>
                <a:gd name="T28" fmla="*/ 2147483646 w 1125"/>
                <a:gd name="T29" fmla="*/ 2147483646 h 2047"/>
                <a:gd name="T30" fmla="*/ 2147483646 w 1125"/>
                <a:gd name="T31" fmla="*/ 2147483646 h 2047"/>
                <a:gd name="T32" fmla="*/ 2147483646 w 1125"/>
                <a:gd name="T33" fmla="*/ 2147483646 h 2047"/>
                <a:gd name="T34" fmla="*/ 2147483646 w 1125"/>
                <a:gd name="T35" fmla="*/ 2147483646 h 2047"/>
                <a:gd name="T36" fmla="*/ 2147483646 w 1125"/>
                <a:gd name="T37" fmla="*/ 2147483646 h 2047"/>
                <a:gd name="T38" fmla="*/ 2147483646 w 1125"/>
                <a:gd name="T39" fmla="*/ 2147483646 h 2047"/>
                <a:gd name="T40" fmla="*/ 2147483646 w 1125"/>
                <a:gd name="T41" fmla="*/ 2147483646 h 2047"/>
                <a:gd name="T42" fmla="*/ 2147483646 w 1125"/>
                <a:gd name="T43" fmla="*/ 2147483646 h 2047"/>
                <a:gd name="T44" fmla="*/ 2147483646 w 1125"/>
                <a:gd name="T45" fmla="*/ 2147483646 h 2047"/>
                <a:gd name="T46" fmla="*/ 2147483646 w 1125"/>
                <a:gd name="T47" fmla="*/ 2147483646 h 2047"/>
                <a:gd name="T48" fmla="*/ 2147483646 w 1125"/>
                <a:gd name="T49" fmla="*/ 2147483646 h 2047"/>
                <a:gd name="T50" fmla="*/ 2147483646 w 1125"/>
                <a:gd name="T51" fmla="*/ 2147483646 h 2047"/>
                <a:gd name="T52" fmla="*/ 2147483646 w 1125"/>
                <a:gd name="T53" fmla="*/ 2147483646 h 2047"/>
                <a:gd name="T54" fmla="*/ 2147483646 w 1125"/>
                <a:gd name="T55" fmla="*/ 2147483646 h 2047"/>
                <a:gd name="T56" fmla="*/ 2147483646 w 1125"/>
                <a:gd name="T57" fmla="*/ 2147483646 h 2047"/>
                <a:gd name="T58" fmla="*/ 2147483646 w 1125"/>
                <a:gd name="T59" fmla="*/ 2147483646 h 2047"/>
                <a:gd name="T60" fmla="*/ 2147483646 w 1125"/>
                <a:gd name="T61" fmla="*/ 2147483646 h 2047"/>
                <a:gd name="T62" fmla="*/ 2147483646 w 1125"/>
                <a:gd name="T63" fmla="*/ 2147483646 h 2047"/>
                <a:gd name="T64" fmla="*/ 2147483646 w 1125"/>
                <a:gd name="T65" fmla="*/ 2147483646 h 2047"/>
                <a:gd name="T66" fmla="*/ 2147483646 w 1125"/>
                <a:gd name="T67" fmla="*/ 2147483646 h 2047"/>
                <a:gd name="T68" fmla="*/ 2147483646 w 1125"/>
                <a:gd name="T69" fmla="*/ 2147483646 h 2047"/>
                <a:gd name="T70" fmla="*/ 2147483646 w 1125"/>
                <a:gd name="T71" fmla="*/ 2147483646 h 2047"/>
                <a:gd name="T72" fmla="*/ 2147483646 w 1125"/>
                <a:gd name="T73" fmla="*/ 2147483646 h 2047"/>
                <a:gd name="T74" fmla="*/ 2147483646 w 1125"/>
                <a:gd name="T75" fmla="*/ 2147483646 h 2047"/>
                <a:gd name="T76" fmla="*/ 2147483646 w 1125"/>
                <a:gd name="T77" fmla="*/ 2147483646 h 2047"/>
                <a:gd name="T78" fmla="*/ 2147483646 w 1125"/>
                <a:gd name="T79" fmla="*/ 2147483646 h 2047"/>
                <a:gd name="T80" fmla="*/ 2147483646 w 1125"/>
                <a:gd name="T81" fmla="*/ 2147483646 h 2047"/>
                <a:gd name="T82" fmla="*/ 2147483646 w 1125"/>
                <a:gd name="T83" fmla="*/ 2147483646 h 2047"/>
                <a:gd name="T84" fmla="*/ 2147483646 w 1125"/>
                <a:gd name="T85" fmla="*/ 2147483646 h 2047"/>
                <a:gd name="T86" fmla="*/ 2147483646 w 1125"/>
                <a:gd name="T87" fmla="*/ 2147483646 h 2047"/>
                <a:gd name="T88" fmla="*/ 2147483646 w 1125"/>
                <a:gd name="T89" fmla="*/ 2147483646 h 2047"/>
                <a:gd name="T90" fmla="*/ 2147483646 w 1125"/>
                <a:gd name="T91" fmla="*/ 2147483646 h 2047"/>
                <a:gd name="T92" fmla="*/ 2147483646 w 1125"/>
                <a:gd name="T93" fmla="*/ 2147483646 h 2047"/>
                <a:gd name="T94" fmla="*/ 2147483646 w 1125"/>
                <a:gd name="T95" fmla="*/ 2147483646 h 2047"/>
                <a:gd name="T96" fmla="*/ 2147483646 w 1125"/>
                <a:gd name="T97" fmla="*/ 2147483646 h 2047"/>
                <a:gd name="T98" fmla="*/ 2147483646 w 1125"/>
                <a:gd name="T99" fmla="*/ 2147483646 h 2047"/>
                <a:gd name="T100" fmla="*/ 2147483646 w 1125"/>
                <a:gd name="T101" fmla="*/ 2147483646 h 2047"/>
                <a:gd name="T102" fmla="*/ 2147483646 w 1125"/>
                <a:gd name="T103" fmla="*/ 2147483646 h 2047"/>
                <a:gd name="T104" fmla="*/ 2147483646 w 1125"/>
                <a:gd name="T105" fmla="*/ 2147483646 h 2047"/>
                <a:gd name="T106" fmla="*/ 2147483646 w 1125"/>
                <a:gd name="T107" fmla="*/ 2147483646 h 2047"/>
                <a:gd name="T108" fmla="*/ 2147483646 w 1125"/>
                <a:gd name="T109" fmla="*/ 2147483646 h 2047"/>
                <a:gd name="T110" fmla="*/ 2147483646 w 1125"/>
                <a:gd name="T111" fmla="*/ 2147483646 h 2047"/>
                <a:gd name="T112" fmla="*/ 2147483646 w 1125"/>
                <a:gd name="T113" fmla="*/ 2147483646 h 2047"/>
                <a:gd name="T114" fmla="*/ 2147483646 w 1125"/>
                <a:gd name="T115" fmla="*/ 2147483646 h 2047"/>
                <a:gd name="T116" fmla="*/ 2147483646 w 1125"/>
                <a:gd name="T117" fmla="*/ 2147483646 h 2047"/>
                <a:gd name="T118" fmla="*/ 2147483646 w 1125"/>
                <a:gd name="T119" fmla="*/ 2147483646 h 2047"/>
                <a:gd name="T120" fmla="*/ 2147483646 w 1125"/>
                <a:gd name="T121" fmla="*/ 2147483646 h 2047"/>
                <a:gd name="T122" fmla="*/ 2147483646 w 1125"/>
                <a:gd name="T123" fmla="*/ 2147483646 h 2047"/>
                <a:gd name="T124" fmla="*/ 2147483646 w 1125"/>
                <a:gd name="T125" fmla="*/ 2147483646 h 204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125" h="2047">
                  <a:moveTo>
                    <a:pt x="718" y="105"/>
                  </a:moveTo>
                  <a:lnTo>
                    <a:pt x="722" y="102"/>
                  </a:lnTo>
                  <a:lnTo>
                    <a:pt x="730" y="95"/>
                  </a:lnTo>
                  <a:lnTo>
                    <a:pt x="740" y="83"/>
                  </a:lnTo>
                  <a:lnTo>
                    <a:pt x="751" y="70"/>
                  </a:lnTo>
                  <a:lnTo>
                    <a:pt x="760" y="58"/>
                  </a:lnTo>
                  <a:lnTo>
                    <a:pt x="764" y="46"/>
                  </a:lnTo>
                  <a:lnTo>
                    <a:pt x="761" y="37"/>
                  </a:lnTo>
                  <a:lnTo>
                    <a:pt x="748" y="32"/>
                  </a:lnTo>
                  <a:lnTo>
                    <a:pt x="735" y="30"/>
                  </a:lnTo>
                  <a:lnTo>
                    <a:pt x="725" y="27"/>
                  </a:lnTo>
                  <a:lnTo>
                    <a:pt x="716" y="22"/>
                  </a:lnTo>
                  <a:lnTo>
                    <a:pt x="708" y="17"/>
                  </a:lnTo>
                  <a:lnTo>
                    <a:pt x="700" y="13"/>
                  </a:lnTo>
                  <a:lnTo>
                    <a:pt x="693" y="8"/>
                  </a:lnTo>
                  <a:lnTo>
                    <a:pt x="686" y="4"/>
                  </a:lnTo>
                  <a:lnTo>
                    <a:pt x="678" y="1"/>
                  </a:lnTo>
                  <a:lnTo>
                    <a:pt x="672" y="0"/>
                  </a:lnTo>
                  <a:lnTo>
                    <a:pt x="665" y="0"/>
                  </a:lnTo>
                  <a:lnTo>
                    <a:pt x="658" y="0"/>
                  </a:lnTo>
                  <a:lnTo>
                    <a:pt x="651" y="2"/>
                  </a:lnTo>
                  <a:lnTo>
                    <a:pt x="633" y="7"/>
                  </a:lnTo>
                  <a:lnTo>
                    <a:pt x="610" y="13"/>
                  </a:lnTo>
                  <a:lnTo>
                    <a:pt x="583" y="19"/>
                  </a:lnTo>
                  <a:lnTo>
                    <a:pt x="558" y="25"/>
                  </a:lnTo>
                  <a:lnTo>
                    <a:pt x="534" y="34"/>
                  </a:lnTo>
                  <a:lnTo>
                    <a:pt x="512" y="42"/>
                  </a:lnTo>
                  <a:lnTo>
                    <a:pt x="496" y="52"/>
                  </a:lnTo>
                  <a:lnTo>
                    <a:pt x="487" y="62"/>
                  </a:lnTo>
                  <a:lnTo>
                    <a:pt x="483" y="74"/>
                  </a:lnTo>
                  <a:lnTo>
                    <a:pt x="478" y="84"/>
                  </a:lnTo>
                  <a:lnTo>
                    <a:pt x="474" y="93"/>
                  </a:lnTo>
                  <a:lnTo>
                    <a:pt x="468" y="102"/>
                  </a:lnTo>
                  <a:lnTo>
                    <a:pt x="461" y="107"/>
                  </a:lnTo>
                  <a:lnTo>
                    <a:pt x="452" y="110"/>
                  </a:lnTo>
                  <a:lnTo>
                    <a:pt x="440" y="110"/>
                  </a:lnTo>
                  <a:lnTo>
                    <a:pt x="426" y="105"/>
                  </a:lnTo>
                  <a:lnTo>
                    <a:pt x="409" y="100"/>
                  </a:lnTo>
                  <a:lnTo>
                    <a:pt x="391" y="98"/>
                  </a:lnTo>
                  <a:lnTo>
                    <a:pt x="371" y="100"/>
                  </a:lnTo>
                  <a:lnTo>
                    <a:pt x="351" y="105"/>
                  </a:lnTo>
                  <a:lnTo>
                    <a:pt x="334" y="112"/>
                  </a:lnTo>
                  <a:lnTo>
                    <a:pt x="319" y="120"/>
                  </a:lnTo>
                  <a:lnTo>
                    <a:pt x="306" y="130"/>
                  </a:lnTo>
                  <a:lnTo>
                    <a:pt x="300" y="141"/>
                  </a:lnTo>
                  <a:lnTo>
                    <a:pt x="291" y="151"/>
                  </a:lnTo>
                  <a:lnTo>
                    <a:pt x="278" y="161"/>
                  </a:lnTo>
                  <a:lnTo>
                    <a:pt x="260" y="172"/>
                  </a:lnTo>
                  <a:lnTo>
                    <a:pt x="241" y="182"/>
                  </a:lnTo>
                  <a:lnTo>
                    <a:pt x="221" y="194"/>
                  </a:lnTo>
                  <a:lnTo>
                    <a:pt x="204" y="208"/>
                  </a:lnTo>
                  <a:lnTo>
                    <a:pt x="191" y="224"/>
                  </a:lnTo>
                  <a:lnTo>
                    <a:pt x="184" y="242"/>
                  </a:lnTo>
                  <a:lnTo>
                    <a:pt x="180" y="261"/>
                  </a:lnTo>
                  <a:lnTo>
                    <a:pt x="172" y="277"/>
                  </a:lnTo>
                  <a:lnTo>
                    <a:pt x="160" y="289"/>
                  </a:lnTo>
                  <a:lnTo>
                    <a:pt x="146" y="299"/>
                  </a:lnTo>
                  <a:lnTo>
                    <a:pt x="130" y="305"/>
                  </a:lnTo>
                  <a:lnTo>
                    <a:pt x="113" y="311"/>
                  </a:lnTo>
                  <a:lnTo>
                    <a:pt x="94" y="314"/>
                  </a:lnTo>
                  <a:lnTo>
                    <a:pt x="76" y="315"/>
                  </a:lnTo>
                  <a:lnTo>
                    <a:pt x="59" y="316"/>
                  </a:lnTo>
                  <a:lnTo>
                    <a:pt x="44" y="319"/>
                  </a:lnTo>
                  <a:lnTo>
                    <a:pt x="31" y="325"/>
                  </a:lnTo>
                  <a:lnTo>
                    <a:pt x="22" y="332"/>
                  </a:lnTo>
                  <a:lnTo>
                    <a:pt x="16" y="342"/>
                  </a:lnTo>
                  <a:lnTo>
                    <a:pt x="13" y="355"/>
                  </a:lnTo>
                  <a:lnTo>
                    <a:pt x="11" y="369"/>
                  </a:lnTo>
                  <a:lnTo>
                    <a:pt x="15" y="386"/>
                  </a:lnTo>
                  <a:lnTo>
                    <a:pt x="17" y="402"/>
                  </a:lnTo>
                  <a:lnTo>
                    <a:pt x="16" y="415"/>
                  </a:lnTo>
                  <a:lnTo>
                    <a:pt x="13" y="425"/>
                  </a:lnTo>
                  <a:lnTo>
                    <a:pt x="9" y="434"/>
                  </a:lnTo>
                  <a:lnTo>
                    <a:pt x="4" y="444"/>
                  </a:lnTo>
                  <a:lnTo>
                    <a:pt x="1" y="454"/>
                  </a:lnTo>
                  <a:lnTo>
                    <a:pt x="0" y="466"/>
                  </a:lnTo>
                  <a:lnTo>
                    <a:pt x="2" y="482"/>
                  </a:lnTo>
                  <a:lnTo>
                    <a:pt x="7" y="499"/>
                  </a:lnTo>
                  <a:lnTo>
                    <a:pt x="13" y="515"/>
                  </a:lnTo>
                  <a:lnTo>
                    <a:pt x="18" y="530"/>
                  </a:lnTo>
                  <a:lnTo>
                    <a:pt x="25" y="543"/>
                  </a:lnTo>
                  <a:lnTo>
                    <a:pt x="34" y="553"/>
                  </a:lnTo>
                  <a:lnTo>
                    <a:pt x="45" y="562"/>
                  </a:lnTo>
                  <a:lnTo>
                    <a:pt x="59" y="568"/>
                  </a:lnTo>
                  <a:lnTo>
                    <a:pt x="76" y="572"/>
                  </a:lnTo>
                  <a:lnTo>
                    <a:pt x="94" y="575"/>
                  </a:lnTo>
                  <a:lnTo>
                    <a:pt x="113" y="579"/>
                  </a:lnTo>
                  <a:lnTo>
                    <a:pt x="130" y="584"/>
                  </a:lnTo>
                  <a:lnTo>
                    <a:pt x="145" y="593"/>
                  </a:lnTo>
                  <a:lnTo>
                    <a:pt x="159" y="605"/>
                  </a:lnTo>
                  <a:lnTo>
                    <a:pt x="169" y="621"/>
                  </a:lnTo>
                  <a:lnTo>
                    <a:pt x="176" y="642"/>
                  </a:lnTo>
                  <a:lnTo>
                    <a:pt x="179" y="668"/>
                  </a:lnTo>
                  <a:lnTo>
                    <a:pt x="181" y="695"/>
                  </a:lnTo>
                  <a:lnTo>
                    <a:pt x="185" y="718"/>
                  </a:lnTo>
                  <a:lnTo>
                    <a:pt x="191" y="740"/>
                  </a:lnTo>
                  <a:lnTo>
                    <a:pt x="198" y="762"/>
                  </a:lnTo>
                  <a:lnTo>
                    <a:pt x="203" y="785"/>
                  </a:lnTo>
                  <a:lnTo>
                    <a:pt x="206" y="810"/>
                  </a:lnTo>
                  <a:lnTo>
                    <a:pt x="207" y="841"/>
                  </a:lnTo>
                  <a:lnTo>
                    <a:pt x="203" y="878"/>
                  </a:lnTo>
                  <a:lnTo>
                    <a:pt x="196" y="915"/>
                  </a:lnTo>
                  <a:lnTo>
                    <a:pt x="190" y="945"/>
                  </a:lnTo>
                  <a:lnTo>
                    <a:pt x="184" y="968"/>
                  </a:lnTo>
                  <a:lnTo>
                    <a:pt x="181" y="986"/>
                  </a:lnTo>
                  <a:lnTo>
                    <a:pt x="180" y="999"/>
                  </a:lnTo>
                  <a:lnTo>
                    <a:pt x="180" y="1009"/>
                  </a:lnTo>
                  <a:lnTo>
                    <a:pt x="184" y="1016"/>
                  </a:lnTo>
                  <a:lnTo>
                    <a:pt x="191" y="1022"/>
                  </a:lnTo>
                  <a:lnTo>
                    <a:pt x="200" y="1028"/>
                  </a:lnTo>
                  <a:lnTo>
                    <a:pt x="210" y="1034"/>
                  </a:lnTo>
                  <a:lnTo>
                    <a:pt x="218" y="1042"/>
                  </a:lnTo>
                  <a:lnTo>
                    <a:pt x="225" y="1050"/>
                  </a:lnTo>
                  <a:lnTo>
                    <a:pt x="227" y="1057"/>
                  </a:lnTo>
                  <a:lnTo>
                    <a:pt x="225" y="1062"/>
                  </a:lnTo>
                  <a:lnTo>
                    <a:pt x="217" y="1067"/>
                  </a:lnTo>
                  <a:lnTo>
                    <a:pt x="203" y="1068"/>
                  </a:lnTo>
                  <a:lnTo>
                    <a:pt x="189" y="1070"/>
                  </a:lnTo>
                  <a:lnTo>
                    <a:pt x="183" y="1075"/>
                  </a:lnTo>
                  <a:lnTo>
                    <a:pt x="183" y="1082"/>
                  </a:lnTo>
                  <a:lnTo>
                    <a:pt x="188" y="1089"/>
                  </a:lnTo>
                  <a:lnTo>
                    <a:pt x="194" y="1097"/>
                  </a:lnTo>
                  <a:lnTo>
                    <a:pt x="200" y="1104"/>
                  </a:lnTo>
                  <a:lnTo>
                    <a:pt x="206" y="1108"/>
                  </a:lnTo>
                  <a:lnTo>
                    <a:pt x="208" y="1111"/>
                  </a:lnTo>
                  <a:lnTo>
                    <a:pt x="206" y="1111"/>
                  </a:lnTo>
                  <a:lnTo>
                    <a:pt x="200" y="1110"/>
                  </a:lnTo>
                  <a:lnTo>
                    <a:pt x="191" y="1108"/>
                  </a:lnTo>
                  <a:lnTo>
                    <a:pt x="182" y="1108"/>
                  </a:lnTo>
                  <a:lnTo>
                    <a:pt x="172" y="1111"/>
                  </a:lnTo>
                  <a:lnTo>
                    <a:pt x="162" y="1115"/>
                  </a:lnTo>
                  <a:lnTo>
                    <a:pt x="157" y="1123"/>
                  </a:lnTo>
                  <a:lnTo>
                    <a:pt x="154" y="1135"/>
                  </a:lnTo>
                  <a:lnTo>
                    <a:pt x="157" y="1149"/>
                  </a:lnTo>
                  <a:lnTo>
                    <a:pt x="164" y="1163"/>
                  </a:lnTo>
                  <a:lnTo>
                    <a:pt x="173" y="1176"/>
                  </a:lnTo>
                  <a:lnTo>
                    <a:pt x="184" y="1187"/>
                  </a:lnTo>
                  <a:lnTo>
                    <a:pt x="196" y="1196"/>
                  </a:lnTo>
                  <a:lnTo>
                    <a:pt x="207" y="1201"/>
                  </a:lnTo>
                  <a:lnTo>
                    <a:pt x="219" y="1201"/>
                  </a:lnTo>
                  <a:lnTo>
                    <a:pt x="227" y="1195"/>
                  </a:lnTo>
                  <a:lnTo>
                    <a:pt x="234" y="1186"/>
                  </a:lnTo>
                  <a:lnTo>
                    <a:pt x="238" y="1178"/>
                  </a:lnTo>
                  <a:lnTo>
                    <a:pt x="244" y="1171"/>
                  </a:lnTo>
                  <a:lnTo>
                    <a:pt x="249" y="1165"/>
                  </a:lnTo>
                  <a:lnTo>
                    <a:pt x="252" y="1161"/>
                  </a:lnTo>
                  <a:lnTo>
                    <a:pt x="258" y="1158"/>
                  </a:lnTo>
                  <a:lnTo>
                    <a:pt x="263" y="1158"/>
                  </a:lnTo>
                  <a:lnTo>
                    <a:pt x="270" y="1159"/>
                  </a:lnTo>
                  <a:lnTo>
                    <a:pt x="278" y="1174"/>
                  </a:lnTo>
                  <a:lnTo>
                    <a:pt x="275" y="1202"/>
                  </a:lnTo>
                  <a:lnTo>
                    <a:pt x="267" y="1233"/>
                  </a:lnTo>
                  <a:lnTo>
                    <a:pt x="258" y="1255"/>
                  </a:lnTo>
                  <a:lnTo>
                    <a:pt x="252" y="1261"/>
                  </a:lnTo>
                  <a:lnTo>
                    <a:pt x="244" y="1265"/>
                  </a:lnTo>
                  <a:lnTo>
                    <a:pt x="234" y="1270"/>
                  </a:lnTo>
                  <a:lnTo>
                    <a:pt x="223" y="1273"/>
                  </a:lnTo>
                  <a:lnTo>
                    <a:pt x="212" y="1279"/>
                  </a:lnTo>
                  <a:lnTo>
                    <a:pt x="202" y="1285"/>
                  </a:lnTo>
                  <a:lnTo>
                    <a:pt x="192" y="1292"/>
                  </a:lnTo>
                  <a:lnTo>
                    <a:pt x="184" y="1302"/>
                  </a:lnTo>
                  <a:lnTo>
                    <a:pt x="177" y="1318"/>
                  </a:lnTo>
                  <a:lnTo>
                    <a:pt x="169" y="1340"/>
                  </a:lnTo>
                  <a:lnTo>
                    <a:pt x="161" y="1369"/>
                  </a:lnTo>
                  <a:lnTo>
                    <a:pt x="154" y="1399"/>
                  </a:lnTo>
                  <a:lnTo>
                    <a:pt x="149" y="1430"/>
                  </a:lnTo>
                  <a:lnTo>
                    <a:pt x="144" y="1459"/>
                  </a:lnTo>
                  <a:lnTo>
                    <a:pt x="142" y="1483"/>
                  </a:lnTo>
                  <a:lnTo>
                    <a:pt x="143" y="1500"/>
                  </a:lnTo>
                  <a:lnTo>
                    <a:pt x="146" y="1514"/>
                  </a:lnTo>
                  <a:lnTo>
                    <a:pt x="153" y="1530"/>
                  </a:lnTo>
                  <a:lnTo>
                    <a:pt x="160" y="1547"/>
                  </a:lnTo>
                  <a:lnTo>
                    <a:pt x="168" y="1566"/>
                  </a:lnTo>
                  <a:lnTo>
                    <a:pt x="174" y="1585"/>
                  </a:lnTo>
                  <a:lnTo>
                    <a:pt x="180" y="1606"/>
                  </a:lnTo>
                  <a:lnTo>
                    <a:pt x="181" y="1628"/>
                  </a:lnTo>
                  <a:lnTo>
                    <a:pt x="179" y="1650"/>
                  </a:lnTo>
                  <a:lnTo>
                    <a:pt x="176" y="1672"/>
                  </a:lnTo>
                  <a:lnTo>
                    <a:pt x="179" y="1694"/>
                  </a:lnTo>
                  <a:lnTo>
                    <a:pt x="184" y="1714"/>
                  </a:lnTo>
                  <a:lnTo>
                    <a:pt x="191" y="1735"/>
                  </a:lnTo>
                  <a:lnTo>
                    <a:pt x="200" y="1754"/>
                  </a:lnTo>
                  <a:lnTo>
                    <a:pt x="210" y="1772"/>
                  </a:lnTo>
                  <a:lnTo>
                    <a:pt x="219" y="1791"/>
                  </a:lnTo>
                  <a:lnTo>
                    <a:pt x="227" y="1807"/>
                  </a:lnTo>
                  <a:lnTo>
                    <a:pt x="235" y="1825"/>
                  </a:lnTo>
                  <a:lnTo>
                    <a:pt x="245" y="1847"/>
                  </a:lnTo>
                  <a:lnTo>
                    <a:pt x="257" y="1872"/>
                  </a:lnTo>
                  <a:lnTo>
                    <a:pt x="270" y="1897"/>
                  </a:lnTo>
                  <a:lnTo>
                    <a:pt x="283" y="1918"/>
                  </a:lnTo>
                  <a:lnTo>
                    <a:pt x="300" y="1937"/>
                  </a:lnTo>
                  <a:lnTo>
                    <a:pt x="315" y="1948"/>
                  </a:lnTo>
                  <a:lnTo>
                    <a:pt x="331" y="1951"/>
                  </a:lnTo>
                  <a:lnTo>
                    <a:pt x="346" y="1950"/>
                  </a:lnTo>
                  <a:lnTo>
                    <a:pt x="358" y="1953"/>
                  </a:lnTo>
                  <a:lnTo>
                    <a:pt x="370" y="1959"/>
                  </a:lnTo>
                  <a:lnTo>
                    <a:pt x="379" y="1967"/>
                  </a:lnTo>
                  <a:lnTo>
                    <a:pt x="386" y="1977"/>
                  </a:lnTo>
                  <a:lnTo>
                    <a:pt x="392" y="1988"/>
                  </a:lnTo>
                  <a:lnTo>
                    <a:pt x="395" y="1999"/>
                  </a:lnTo>
                  <a:lnTo>
                    <a:pt x="396" y="2011"/>
                  </a:lnTo>
                  <a:lnTo>
                    <a:pt x="398" y="2016"/>
                  </a:lnTo>
                  <a:lnTo>
                    <a:pt x="401" y="2022"/>
                  </a:lnTo>
                  <a:lnTo>
                    <a:pt x="406" y="2028"/>
                  </a:lnTo>
                  <a:lnTo>
                    <a:pt x="413" y="2032"/>
                  </a:lnTo>
                  <a:lnTo>
                    <a:pt x="421" y="2037"/>
                  </a:lnTo>
                  <a:lnTo>
                    <a:pt x="430" y="2042"/>
                  </a:lnTo>
                  <a:lnTo>
                    <a:pt x="439" y="2044"/>
                  </a:lnTo>
                  <a:lnTo>
                    <a:pt x="449" y="2046"/>
                  </a:lnTo>
                  <a:lnTo>
                    <a:pt x="460" y="2047"/>
                  </a:lnTo>
                  <a:lnTo>
                    <a:pt x="470" y="2046"/>
                  </a:lnTo>
                  <a:lnTo>
                    <a:pt x="479" y="2044"/>
                  </a:lnTo>
                  <a:lnTo>
                    <a:pt x="489" y="2039"/>
                  </a:lnTo>
                  <a:lnTo>
                    <a:pt x="497" y="2034"/>
                  </a:lnTo>
                  <a:lnTo>
                    <a:pt x="504" y="2024"/>
                  </a:lnTo>
                  <a:lnTo>
                    <a:pt x="508" y="2013"/>
                  </a:lnTo>
                  <a:lnTo>
                    <a:pt x="512" y="1998"/>
                  </a:lnTo>
                  <a:lnTo>
                    <a:pt x="515" y="1969"/>
                  </a:lnTo>
                  <a:lnTo>
                    <a:pt x="519" y="1947"/>
                  </a:lnTo>
                  <a:lnTo>
                    <a:pt x="522" y="1930"/>
                  </a:lnTo>
                  <a:lnTo>
                    <a:pt x="524" y="1916"/>
                  </a:lnTo>
                  <a:lnTo>
                    <a:pt x="529" y="1906"/>
                  </a:lnTo>
                  <a:lnTo>
                    <a:pt x="534" y="1898"/>
                  </a:lnTo>
                  <a:lnTo>
                    <a:pt x="539" y="1891"/>
                  </a:lnTo>
                  <a:lnTo>
                    <a:pt x="547" y="1884"/>
                  </a:lnTo>
                  <a:lnTo>
                    <a:pt x="557" y="1865"/>
                  </a:lnTo>
                  <a:lnTo>
                    <a:pt x="555" y="1840"/>
                  </a:lnTo>
                  <a:lnTo>
                    <a:pt x="551" y="1816"/>
                  </a:lnTo>
                  <a:lnTo>
                    <a:pt x="554" y="1800"/>
                  </a:lnTo>
                  <a:lnTo>
                    <a:pt x="561" y="1792"/>
                  </a:lnTo>
                  <a:lnTo>
                    <a:pt x="570" y="1779"/>
                  </a:lnTo>
                  <a:lnTo>
                    <a:pt x="582" y="1762"/>
                  </a:lnTo>
                  <a:lnTo>
                    <a:pt x="595" y="1741"/>
                  </a:lnTo>
                  <a:lnTo>
                    <a:pt x="605" y="1718"/>
                  </a:lnTo>
                  <a:lnTo>
                    <a:pt x="614" y="1695"/>
                  </a:lnTo>
                  <a:lnTo>
                    <a:pt x="620" y="1672"/>
                  </a:lnTo>
                  <a:lnTo>
                    <a:pt x="621" y="1650"/>
                  </a:lnTo>
                  <a:lnTo>
                    <a:pt x="622" y="1629"/>
                  </a:lnTo>
                  <a:lnTo>
                    <a:pt x="630" y="1607"/>
                  </a:lnTo>
                  <a:lnTo>
                    <a:pt x="642" y="1587"/>
                  </a:lnTo>
                  <a:lnTo>
                    <a:pt x="658" y="1567"/>
                  </a:lnTo>
                  <a:lnTo>
                    <a:pt x="675" y="1550"/>
                  </a:lnTo>
                  <a:lnTo>
                    <a:pt x="692" y="1536"/>
                  </a:lnTo>
                  <a:lnTo>
                    <a:pt x="707" y="1528"/>
                  </a:lnTo>
                  <a:lnTo>
                    <a:pt x="718" y="1524"/>
                  </a:lnTo>
                  <a:lnTo>
                    <a:pt x="728" y="1523"/>
                  </a:lnTo>
                  <a:lnTo>
                    <a:pt x="743" y="1519"/>
                  </a:lnTo>
                  <a:lnTo>
                    <a:pt x="760" y="1511"/>
                  </a:lnTo>
                  <a:lnTo>
                    <a:pt x="777" y="1498"/>
                  </a:lnTo>
                  <a:lnTo>
                    <a:pt x="795" y="1482"/>
                  </a:lnTo>
                  <a:lnTo>
                    <a:pt x="814" y="1461"/>
                  </a:lnTo>
                  <a:lnTo>
                    <a:pt x="831" y="1436"/>
                  </a:lnTo>
                  <a:lnTo>
                    <a:pt x="846" y="1405"/>
                  </a:lnTo>
                  <a:lnTo>
                    <a:pt x="858" y="1375"/>
                  </a:lnTo>
                  <a:lnTo>
                    <a:pt x="867" y="1354"/>
                  </a:lnTo>
                  <a:lnTo>
                    <a:pt x="875" y="1338"/>
                  </a:lnTo>
                  <a:lnTo>
                    <a:pt x="881" y="1327"/>
                  </a:lnTo>
                  <a:lnTo>
                    <a:pt x="888" y="1320"/>
                  </a:lnTo>
                  <a:lnTo>
                    <a:pt x="893" y="1316"/>
                  </a:lnTo>
                  <a:lnTo>
                    <a:pt x="901" y="1312"/>
                  </a:lnTo>
                  <a:lnTo>
                    <a:pt x="912" y="1309"/>
                  </a:lnTo>
                  <a:lnTo>
                    <a:pt x="919" y="1305"/>
                  </a:lnTo>
                  <a:lnTo>
                    <a:pt x="929" y="1299"/>
                  </a:lnTo>
                  <a:lnTo>
                    <a:pt x="943" y="1289"/>
                  </a:lnTo>
                  <a:lnTo>
                    <a:pt x="958" y="1279"/>
                  </a:lnTo>
                  <a:lnTo>
                    <a:pt x="974" y="1265"/>
                  </a:lnTo>
                  <a:lnTo>
                    <a:pt x="991" y="1251"/>
                  </a:lnTo>
                  <a:lnTo>
                    <a:pt x="1009" y="1236"/>
                  </a:lnTo>
                  <a:lnTo>
                    <a:pt x="1027" y="1220"/>
                  </a:lnTo>
                  <a:lnTo>
                    <a:pt x="1045" y="1204"/>
                  </a:lnTo>
                  <a:lnTo>
                    <a:pt x="1062" y="1188"/>
                  </a:lnTo>
                  <a:lnTo>
                    <a:pt x="1078" y="1173"/>
                  </a:lnTo>
                  <a:lnTo>
                    <a:pt x="1092" y="1158"/>
                  </a:lnTo>
                  <a:lnTo>
                    <a:pt x="1103" y="1143"/>
                  </a:lnTo>
                  <a:lnTo>
                    <a:pt x="1111" y="1130"/>
                  </a:lnTo>
                  <a:lnTo>
                    <a:pt x="1117" y="1120"/>
                  </a:lnTo>
                  <a:lnTo>
                    <a:pt x="1119" y="1111"/>
                  </a:lnTo>
                  <a:lnTo>
                    <a:pt x="1116" y="1097"/>
                  </a:lnTo>
                  <a:lnTo>
                    <a:pt x="1104" y="1087"/>
                  </a:lnTo>
                  <a:lnTo>
                    <a:pt x="1088" y="1080"/>
                  </a:lnTo>
                  <a:lnTo>
                    <a:pt x="1070" y="1077"/>
                  </a:lnTo>
                  <a:lnTo>
                    <a:pt x="1048" y="1077"/>
                  </a:lnTo>
                  <a:lnTo>
                    <a:pt x="1027" y="1082"/>
                  </a:lnTo>
                  <a:lnTo>
                    <a:pt x="1007" y="1088"/>
                  </a:lnTo>
                  <a:lnTo>
                    <a:pt x="991" y="1098"/>
                  </a:lnTo>
                  <a:lnTo>
                    <a:pt x="983" y="1105"/>
                  </a:lnTo>
                  <a:lnTo>
                    <a:pt x="983" y="1102"/>
                  </a:lnTo>
                  <a:lnTo>
                    <a:pt x="988" y="1093"/>
                  </a:lnTo>
                  <a:lnTo>
                    <a:pt x="995" y="1081"/>
                  </a:lnTo>
                  <a:lnTo>
                    <a:pt x="999" y="1066"/>
                  </a:lnTo>
                  <a:lnTo>
                    <a:pt x="998" y="1053"/>
                  </a:lnTo>
                  <a:lnTo>
                    <a:pt x="989" y="1043"/>
                  </a:lnTo>
                  <a:lnTo>
                    <a:pt x="967" y="1039"/>
                  </a:lnTo>
                  <a:lnTo>
                    <a:pt x="958" y="1038"/>
                  </a:lnTo>
                  <a:lnTo>
                    <a:pt x="961" y="1034"/>
                  </a:lnTo>
                  <a:lnTo>
                    <a:pt x="975" y="1028"/>
                  </a:lnTo>
                  <a:lnTo>
                    <a:pt x="994" y="1022"/>
                  </a:lnTo>
                  <a:lnTo>
                    <a:pt x="1015" y="1019"/>
                  </a:lnTo>
                  <a:lnTo>
                    <a:pt x="1035" y="1017"/>
                  </a:lnTo>
                  <a:lnTo>
                    <a:pt x="1051" y="1020"/>
                  </a:lnTo>
                  <a:lnTo>
                    <a:pt x="1058" y="1028"/>
                  </a:lnTo>
                  <a:lnTo>
                    <a:pt x="1063" y="1037"/>
                  </a:lnTo>
                  <a:lnTo>
                    <a:pt x="1071" y="1043"/>
                  </a:lnTo>
                  <a:lnTo>
                    <a:pt x="1082" y="1045"/>
                  </a:lnTo>
                  <a:lnTo>
                    <a:pt x="1094" y="1043"/>
                  </a:lnTo>
                  <a:lnTo>
                    <a:pt x="1105" y="1038"/>
                  </a:lnTo>
                  <a:lnTo>
                    <a:pt x="1116" y="1030"/>
                  </a:lnTo>
                  <a:lnTo>
                    <a:pt x="1123" y="1019"/>
                  </a:lnTo>
                  <a:lnTo>
                    <a:pt x="1125" y="1004"/>
                  </a:lnTo>
                  <a:lnTo>
                    <a:pt x="1124" y="989"/>
                  </a:lnTo>
                  <a:lnTo>
                    <a:pt x="1120" y="976"/>
                  </a:lnTo>
                  <a:lnTo>
                    <a:pt x="1115" y="966"/>
                  </a:lnTo>
                  <a:lnTo>
                    <a:pt x="1107" y="955"/>
                  </a:lnTo>
                  <a:lnTo>
                    <a:pt x="1096" y="946"/>
                  </a:lnTo>
                  <a:lnTo>
                    <a:pt x="1085" y="937"/>
                  </a:lnTo>
                  <a:lnTo>
                    <a:pt x="1070" y="929"/>
                  </a:lnTo>
                  <a:lnTo>
                    <a:pt x="1052" y="920"/>
                  </a:lnTo>
                  <a:lnTo>
                    <a:pt x="1036" y="913"/>
                  </a:lnTo>
                  <a:lnTo>
                    <a:pt x="1022" y="909"/>
                  </a:lnTo>
                  <a:lnTo>
                    <a:pt x="1013" y="908"/>
                  </a:lnTo>
                  <a:lnTo>
                    <a:pt x="1007" y="908"/>
                  </a:lnTo>
                  <a:lnTo>
                    <a:pt x="1003" y="908"/>
                  </a:lnTo>
                  <a:lnTo>
                    <a:pt x="1002" y="907"/>
                  </a:lnTo>
                  <a:lnTo>
                    <a:pt x="1002" y="903"/>
                  </a:lnTo>
                  <a:lnTo>
                    <a:pt x="1003" y="896"/>
                  </a:lnTo>
                  <a:lnTo>
                    <a:pt x="1009" y="891"/>
                  </a:lnTo>
                  <a:lnTo>
                    <a:pt x="1018" y="891"/>
                  </a:lnTo>
                  <a:lnTo>
                    <a:pt x="1029" y="893"/>
                  </a:lnTo>
                  <a:lnTo>
                    <a:pt x="1042" y="896"/>
                  </a:lnTo>
                  <a:lnTo>
                    <a:pt x="1051" y="899"/>
                  </a:lnTo>
                  <a:lnTo>
                    <a:pt x="1058" y="898"/>
                  </a:lnTo>
                  <a:lnTo>
                    <a:pt x="1059" y="892"/>
                  </a:lnTo>
                  <a:lnTo>
                    <a:pt x="1052" y="878"/>
                  </a:lnTo>
                  <a:lnTo>
                    <a:pt x="1041" y="862"/>
                  </a:lnTo>
                  <a:lnTo>
                    <a:pt x="1030" y="848"/>
                  </a:lnTo>
                  <a:lnTo>
                    <a:pt x="1021" y="838"/>
                  </a:lnTo>
                  <a:lnTo>
                    <a:pt x="1014" y="830"/>
                  </a:lnTo>
                  <a:lnTo>
                    <a:pt x="1010" y="823"/>
                  </a:lnTo>
                  <a:lnTo>
                    <a:pt x="1009" y="818"/>
                  </a:lnTo>
                  <a:lnTo>
                    <a:pt x="1013" y="815"/>
                  </a:lnTo>
                  <a:lnTo>
                    <a:pt x="1021" y="812"/>
                  </a:lnTo>
                  <a:lnTo>
                    <a:pt x="1033" y="808"/>
                  </a:lnTo>
                  <a:lnTo>
                    <a:pt x="1043" y="801"/>
                  </a:lnTo>
                  <a:lnTo>
                    <a:pt x="1051" y="790"/>
                  </a:lnTo>
                  <a:lnTo>
                    <a:pt x="1059" y="780"/>
                  </a:lnTo>
                  <a:lnTo>
                    <a:pt x="1064" y="767"/>
                  </a:lnTo>
                  <a:lnTo>
                    <a:pt x="1067" y="756"/>
                  </a:lnTo>
                  <a:lnTo>
                    <a:pt x="1067" y="744"/>
                  </a:lnTo>
                  <a:lnTo>
                    <a:pt x="1064" y="734"/>
                  </a:lnTo>
                  <a:lnTo>
                    <a:pt x="1062" y="725"/>
                  </a:lnTo>
                  <a:lnTo>
                    <a:pt x="1063" y="716"/>
                  </a:lnTo>
                  <a:lnTo>
                    <a:pt x="1066" y="706"/>
                  </a:lnTo>
                  <a:lnTo>
                    <a:pt x="1071" y="698"/>
                  </a:lnTo>
                  <a:lnTo>
                    <a:pt x="1074" y="689"/>
                  </a:lnTo>
                  <a:lnTo>
                    <a:pt x="1075" y="680"/>
                  </a:lnTo>
                  <a:lnTo>
                    <a:pt x="1072" y="672"/>
                  </a:lnTo>
                  <a:lnTo>
                    <a:pt x="1064" y="663"/>
                  </a:lnTo>
                  <a:lnTo>
                    <a:pt x="1056" y="655"/>
                  </a:lnTo>
                  <a:lnTo>
                    <a:pt x="1051" y="646"/>
                  </a:lnTo>
                  <a:lnTo>
                    <a:pt x="1051" y="640"/>
                  </a:lnTo>
                  <a:lnTo>
                    <a:pt x="1052" y="632"/>
                  </a:lnTo>
                  <a:lnTo>
                    <a:pt x="1054" y="625"/>
                  </a:lnTo>
                  <a:lnTo>
                    <a:pt x="1055" y="618"/>
                  </a:lnTo>
                  <a:lnTo>
                    <a:pt x="1052" y="610"/>
                  </a:lnTo>
                  <a:lnTo>
                    <a:pt x="1045" y="602"/>
                  </a:lnTo>
                  <a:lnTo>
                    <a:pt x="1034" y="592"/>
                  </a:lnTo>
                  <a:lnTo>
                    <a:pt x="1020" y="582"/>
                  </a:lnTo>
                  <a:lnTo>
                    <a:pt x="1005" y="570"/>
                  </a:lnTo>
                  <a:lnTo>
                    <a:pt x="990" y="559"/>
                  </a:lnTo>
                  <a:lnTo>
                    <a:pt x="980" y="547"/>
                  </a:lnTo>
                  <a:lnTo>
                    <a:pt x="974" y="535"/>
                  </a:lnTo>
                  <a:lnTo>
                    <a:pt x="975" y="523"/>
                  </a:lnTo>
                  <a:lnTo>
                    <a:pt x="986" y="512"/>
                  </a:lnTo>
                  <a:lnTo>
                    <a:pt x="998" y="501"/>
                  </a:lnTo>
                  <a:lnTo>
                    <a:pt x="1006" y="491"/>
                  </a:lnTo>
                  <a:lnTo>
                    <a:pt x="1010" y="482"/>
                  </a:lnTo>
                  <a:lnTo>
                    <a:pt x="1010" y="474"/>
                  </a:lnTo>
                  <a:lnTo>
                    <a:pt x="1006" y="468"/>
                  </a:lnTo>
                  <a:lnTo>
                    <a:pt x="999" y="463"/>
                  </a:lnTo>
                  <a:lnTo>
                    <a:pt x="990" y="460"/>
                  </a:lnTo>
                  <a:lnTo>
                    <a:pt x="979" y="459"/>
                  </a:lnTo>
                  <a:lnTo>
                    <a:pt x="969" y="456"/>
                  </a:lnTo>
                  <a:lnTo>
                    <a:pt x="964" y="452"/>
                  </a:lnTo>
                  <a:lnTo>
                    <a:pt x="960" y="444"/>
                  </a:lnTo>
                  <a:lnTo>
                    <a:pt x="958" y="436"/>
                  </a:lnTo>
                  <a:lnTo>
                    <a:pt x="956" y="428"/>
                  </a:lnTo>
                  <a:lnTo>
                    <a:pt x="952" y="421"/>
                  </a:lnTo>
                  <a:lnTo>
                    <a:pt x="946" y="416"/>
                  </a:lnTo>
                  <a:lnTo>
                    <a:pt x="937" y="416"/>
                  </a:lnTo>
                  <a:lnTo>
                    <a:pt x="920" y="405"/>
                  </a:lnTo>
                  <a:lnTo>
                    <a:pt x="913" y="371"/>
                  </a:lnTo>
                  <a:lnTo>
                    <a:pt x="912" y="328"/>
                  </a:lnTo>
                  <a:lnTo>
                    <a:pt x="912" y="290"/>
                  </a:lnTo>
                  <a:lnTo>
                    <a:pt x="914" y="263"/>
                  </a:lnTo>
                  <a:lnTo>
                    <a:pt x="920" y="240"/>
                  </a:lnTo>
                  <a:lnTo>
                    <a:pt x="922" y="219"/>
                  </a:lnTo>
                  <a:lnTo>
                    <a:pt x="919" y="195"/>
                  </a:lnTo>
                  <a:lnTo>
                    <a:pt x="917" y="173"/>
                  </a:lnTo>
                  <a:lnTo>
                    <a:pt x="924" y="146"/>
                  </a:lnTo>
                  <a:lnTo>
                    <a:pt x="934" y="120"/>
                  </a:lnTo>
                  <a:lnTo>
                    <a:pt x="939" y="95"/>
                  </a:lnTo>
                  <a:lnTo>
                    <a:pt x="939" y="84"/>
                  </a:lnTo>
                  <a:lnTo>
                    <a:pt x="937" y="75"/>
                  </a:lnTo>
                  <a:lnTo>
                    <a:pt x="932" y="68"/>
                  </a:lnTo>
                  <a:lnTo>
                    <a:pt x="924" y="62"/>
                  </a:lnTo>
                  <a:lnTo>
                    <a:pt x="917" y="60"/>
                  </a:lnTo>
                  <a:lnTo>
                    <a:pt x="911" y="59"/>
                  </a:lnTo>
                  <a:lnTo>
                    <a:pt x="904" y="59"/>
                  </a:lnTo>
                  <a:lnTo>
                    <a:pt x="898" y="59"/>
                  </a:lnTo>
                  <a:lnTo>
                    <a:pt x="889" y="62"/>
                  </a:lnTo>
                  <a:lnTo>
                    <a:pt x="879" y="68"/>
                  </a:lnTo>
                  <a:lnTo>
                    <a:pt x="871" y="76"/>
                  </a:lnTo>
                  <a:lnTo>
                    <a:pt x="863" y="84"/>
                  </a:lnTo>
                  <a:lnTo>
                    <a:pt x="856" y="93"/>
                  </a:lnTo>
                  <a:lnTo>
                    <a:pt x="851" y="104"/>
                  </a:lnTo>
                  <a:lnTo>
                    <a:pt x="845" y="113"/>
                  </a:lnTo>
                  <a:lnTo>
                    <a:pt x="839" y="122"/>
                  </a:lnTo>
                  <a:lnTo>
                    <a:pt x="832" y="133"/>
                  </a:lnTo>
                  <a:lnTo>
                    <a:pt x="826" y="140"/>
                  </a:lnTo>
                  <a:lnTo>
                    <a:pt x="821" y="143"/>
                  </a:lnTo>
                  <a:lnTo>
                    <a:pt x="816" y="144"/>
                  </a:lnTo>
                  <a:lnTo>
                    <a:pt x="813" y="143"/>
                  </a:lnTo>
                  <a:lnTo>
                    <a:pt x="809" y="140"/>
                  </a:lnTo>
                  <a:lnTo>
                    <a:pt x="806" y="133"/>
                  </a:lnTo>
                  <a:lnTo>
                    <a:pt x="803" y="122"/>
                  </a:lnTo>
                  <a:lnTo>
                    <a:pt x="800" y="114"/>
                  </a:lnTo>
                  <a:lnTo>
                    <a:pt x="795" y="110"/>
                  </a:lnTo>
                  <a:lnTo>
                    <a:pt x="790" y="111"/>
                  </a:lnTo>
                  <a:lnTo>
                    <a:pt x="783" y="114"/>
                  </a:lnTo>
                  <a:lnTo>
                    <a:pt x="776" y="120"/>
                  </a:lnTo>
                  <a:lnTo>
                    <a:pt x="769" y="128"/>
                  </a:lnTo>
                  <a:lnTo>
                    <a:pt x="761" y="137"/>
                  </a:lnTo>
                  <a:lnTo>
                    <a:pt x="754" y="146"/>
                  </a:lnTo>
                  <a:lnTo>
                    <a:pt x="750" y="151"/>
                  </a:lnTo>
                  <a:lnTo>
                    <a:pt x="750" y="149"/>
                  </a:lnTo>
                  <a:lnTo>
                    <a:pt x="753" y="142"/>
                  </a:lnTo>
                  <a:lnTo>
                    <a:pt x="755" y="133"/>
                  </a:lnTo>
                  <a:lnTo>
                    <a:pt x="754" y="121"/>
                  </a:lnTo>
                  <a:lnTo>
                    <a:pt x="749" y="112"/>
                  </a:lnTo>
                  <a:lnTo>
                    <a:pt x="738" y="106"/>
                  </a:lnTo>
                  <a:lnTo>
                    <a:pt x="718" y="10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2" name="Freeform 426"/>
            <p:cNvSpPr>
              <a:spLocks/>
            </p:cNvSpPr>
            <p:nvPr/>
          </p:nvSpPr>
          <p:spPr bwMode="auto">
            <a:xfrm>
              <a:off x="2020627" y="2012766"/>
              <a:ext cx="38004" cy="34634"/>
            </a:xfrm>
            <a:custGeom>
              <a:avLst/>
              <a:gdLst>
                <a:gd name="T0" fmla="*/ 2147483646 w 40"/>
                <a:gd name="T1" fmla="*/ 2147483646 h 36"/>
                <a:gd name="T2" fmla="*/ 2147483646 w 40"/>
                <a:gd name="T3" fmla="*/ 2147483646 h 36"/>
                <a:gd name="T4" fmla="*/ 2147483646 w 40"/>
                <a:gd name="T5" fmla="*/ 2147483646 h 36"/>
                <a:gd name="T6" fmla="*/ 2147483646 w 40"/>
                <a:gd name="T7" fmla="*/ 2147483646 h 36"/>
                <a:gd name="T8" fmla="*/ 2147483646 w 40"/>
                <a:gd name="T9" fmla="*/ 2147483646 h 36"/>
                <a:gd name="T10" fmla="*/ 2147483646 w 40"/>
                <a:gd name="T11" fmla="*/ 2147483646 h 36"/>
                <a:gd name="T12" fmla="*/ 2147483646 w 40"/>
                <a:gd name="T13" fmla="*/ 2147483646 h 36"/>
                <a:gd name="T14" fmla="*/ 2147483646 w 40"/>
                <a:gd name="T15" fmla="*/ 2147483646 h 36"/>
                <a:gd name="T16" fmla="*/ 2147483646 w 40"/>
                <a:gd name="T17" fmla="*/ 2147483646 h 36"/>
                <a:gd name="T18" fmla="*/ 2147483646 w 40"/>
                <a:gd name="T19" fmla="*/ 2147483646 h 36"/>
                <a:gd name="T20" fmla="*/ 2147483646 w 40"/>
                <a:gd name="T21" fmla="*/ 2147483646 h 36"/>
                <a:gd name="T22" fmla="*/ 2147483646 w 40"/>
                <a:gd name="T23" fmla="*/ 2147483646 h 36"/>
                <a:gd name="T24" fmla="*/ 2147483646 w 40"/>
                <a:gd name="T25" fmla="*/ 2147483646 h 36"/>
                <a:gd name="T26" fmla="*/ 2147483646 w 40"/>
                <a:gd name="T27" fmla="*/ 2147483646 h 36"/>
                <a:gd name="T28" fmla="*/ 0 w 40"/>
                <a:gd name="T29" fmla="*/ 2147483646 h 36"/>
                <a:gd name="T30" fmla="*/ 2147483646 w 40"/>
                <a:gd name="T31" fmla="*/ 2147483646 h 36"/>
                <a:gd name="T32" fmla="*/ 2147483646 w 40"/>
                <a:gd name="T33" fmla="*/ 2147483646 h 36"/>
                <a:gd name="T34" fmla="*/ 2147483646 w 40"/>
                <a:gd name="T35" fmla="*/ 2147483646 h 36"/>
                <a:gd name="T36" fmla="*/ 2147483646 w 40"/>
                <a:gd name="T37" fmla="*/ 2147483646 h 36"/>
                <a:gd name="T38" fmla="*/ 2147483646 w 40"/>
                <a:gd name="T39" fmla="*/ 0 h 36"/>
                <a:gd name="T40" fmla="*/ 2147483646 w 40"/>
                <a:gd name="T41" fmla="*/ 2147483646 h 36"/>
                <a:gd name="T42" fmla="*/ 2147483646 w 40"/>
                <a:gd name="T43" fmla="*/ 2147483646 h 36"/>
                <a:gd name="T44" fmla="*/ 2147483646 w 40"/>
                <a:gd name="T45" fmla="*/ 2147483646 h 36"/>
                <a:gd name="T46" fmla="*/ 2147483646 w 40"/>
                <a:gd name="T47" fmla="*/ 2147483646 h 36"/>
                <a:gd name="T48" fmla="*/ 2147483646 w 40"/>
                <a:gd name="T49" fmla="*/ 2147483646 h 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36">
                  <a:moveTo>
                    <a:pt x="39" y="19"/>
                  </a:moveTo>
                  <a:lnTo>
                    <a:pt x="38" y="21"/>
                  </a:lnTo>
                  <a:lnTo>
                    <a:pt x="35" y="25"/>
                  </a:lnTo>
                  <a:lnTo>
                    <a:pt x="31" y="29"/>
                  </a:lnTo>
                  <a:lnTo>
                    <a:pt x="27" y="33"/>
                  </a:lnTo>
                  <a:lnTo>
                    <a:pt x="23" y="35"/>
                  </a:lnTo>
                  <a:lnTo>
                    <a:pt x="18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1" y="35"/>
                  </a:lnTo>
                  <a:lnTo>
                    <a:pt x="10" y="33"/>
                  </a:lnTo>
                  <a:lnTo>
                    <a:pt x="8" y="31"/>
                  </a:lnTo>
                  <a:lnTo>
                    <a:pt x="4" y="27"/>
                  </a:lnTo>
                  <a:lnTo>
                    <a:pt x="1" y="24"/>
                  </a:lnTo>
                  <a:lnTo>
                    <a:pt x="0" y="19"/>
                  </a:lnTo>
                  <a:lnTo>
                    <a:pt x="1" y="16"/>
                  </a:lnTo>
                  <a:lnTo>
                    <a:pt x="7" y="11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9" y="0"/>
                  </a:lnTo>
                  <a:lnTo>
                    <a:pt x="24" y="1"/>
                  </a:lnTo>
                  <a:lnTo>
                    <a:pt x="31" y="3"/>
                  </a:lnTo>
                  <a:lnTo>
                    <a:pt x="37" y="6"/>
                  </a:lnTo>
                  <a:lnTo>
                    <a:pt x="40" y="11"/>
                  </a:lnTo>
                  <a:lnTo>
                    <a:pt x="39" y="1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3" name="Freeform 427"/>
            <p:cNvSpPr>
              <a:spLocks/>
            </p:cNvSpPr>
            <p:nvPr/>
          </p:nvSpPr>
          <p:spPr bwMode="auto">
            <a:xfrm>
              <a:off x="2345122" y="2292849"/>
              <a:ext cx="0" cy="4518"/>
            </a:xfrm>
            <a:custGeom>
              <a:avLst/>
              <a:gdLst>
                <a:gd name="T0" fmla="*/ 1 w 1"/>
                <a:gd name="T1" fmla="*/ 2147483646 h 4"/>
                <a:gd name="T2" fmla="*/ 1 w 1"/>
                <a:gd name="T3" fmla="*/ 2147483646 h 4"/>
                <a:gd name="T4" fmla="*/ 1 w 1"/>
                <a:gd name="T5" fmla="*/ 2147483646 h 4"/>
                <a:gd name="T6" fmla="*/ 0 w 1"/>
                <a:gd name="T7" fmla="*/ 0 h 4"/>
                <a:gd name="T8" fmla="*/ 0 w 1"/>
                <a:gd name="T9" fmla="*/ 0 h 4"/>
                <a:gd name="T10" fmla="*/ 1 w 1"/>
                <a:gd name="T11" fmla="*/ 2147483646 h 4"/>
                <a:gd name="T12" fmla="*/ 1 w 1"/>
                <a:gd name="T13" fmla="*/ 2147483646 h 4"/>
                <a:gd name="T14" fmla="*/ 1 w 1"/>
                <a:gd name="T15" fmla="*/ 2147483646 h 4"/>
                <a:gd name="T16" fmla="*/ 1 w 1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4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4" name="Freeform 428"/>
            <p:cNvSpPr>
              <a:spLocks/>
            </p:cNvSpPr>
            <p:nvPr/>
          </p:nvSpPr>
          <p:spPr bwMode="auto">
            <a:xfrm>
              <a:off x="2674001" y="2324472"/>
              <a:ext cx="2923" cy="6023"/>
            </a:xfrm>
            <a:custGeom>
              <a:avLst/>
              <a:gdLst>
                <a:gd name="T0" fmla="*/ 2147483646 w 5"/>
                <a:gd name="T1" fmla="*/ 2147483646 h 8"/>
                <a:gd name="T2" fmla="*/ 2147483646 w 5"/>
                <a:gd name="T3" fmla="*/ 2147483646 h 8"/>
                <a:gd name="T4" fmla="*/ 2147483646 w 5"/>
                <a:gd name="T5" fmla="*/ 2147483646 h 8"/>
                <a:gd name="T6" fmla="*/ 2147483646 w 5"/>
                <a:gd name="T7" fmla="*/ 2147483646 h 8"/>
                <a:gd name="T8" fmla="*/ 2147483646 w 5"/>
                <a:gd name="T9" fmla="*/ 0 h 8"/>
                <a:gd name="T10" fmla="*/ 0 w 5"/>
                <a:gd name="T11" fmla="*/ 0 h 8"/>
                <a:gd name="T12" fmla="*/ 0 w 5"/>
                <a:gd name="T13" fmla="*/ 2147483646 h 8"/>
                <a:gd name="T14" fmla="*/ 2147483646 w 5"/>
                <a:gd name="T15" fmla="*/ 2147483646 h 8"/>
                <a:gd name="T16" fmla="*/ 2147483646 w 5"/>
                <a:gd name="T17" fmla="*/ 2147483646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lnTo>
                    <a:pt x="5" y="6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5"/>
                  </a:lnTo>
                  <a:lnTo>
                    <a:pt x="5" y="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5" name="Freeform 429"/>
            <p:cNvSpPr>
              <a:spLocks/>
            </p:cNvSpPr>
            <p:nvPr/>
          </p:nvSpPr>
          <p:spPr bwMode="auto">
            <a:xfrm>
              <a:off x="2350969" y="1928440"/>
              <a:ext cx="13155" cy="13553"/>
            </a:xfrm>
            <a:custGeom>
              <a:avLst/>
              <a:gdLst>
                <a:gd name="T0" fmla="*/ 2147483646 w 14"/>
                <a:gd name="T1" fmla="*/ 2147483646 h 15"/>
                <a:gd name="T2" fmla="*/ 2147483646 w 14"/>
                <a:gd name="T3" fmla="*/ 2147483646 h 15"/>
                <a:gd name="T4" fmla="*/ 2147483646 w 14"/>
                <a:gd name="T5" fmla="*/ 2147483646 h 15"/>
                <a:gd name="T6" fmla="*/ 2147483646 w 14"/>
                <a:gd name="T7" fmla="*/ 2147483646 h 15"/>
                <a:gd name="T8" fmla="*/ 2147483646 w 14"/>
                <a:gd name="T9" fmla="*/ 2147483646 h 15"/>
                <a:gd name="T10" fmla="*/ 2147483646 w 14"/>
                <a:gd name="T11" fmla="*/ 2147483646 h 15"/>
                <a:gd name="T12" fmla="*/ 2147483646 w 14"/>
                <a:gd name="T13" fmla="*/ 2147483646 h 15"/>
                <a:gd name="T14" fmla="*/ 2147483646 w 14"/>
                <a:gd name="T15" fmla="*/ 2147483646 h 15"/>
                <a:gd name="T16" fmla="*/ 2147483646 w 14"/>
                <a:gd name="T17" fmla="*/ 0 h 15"/>
                <a:gd name="T18" fmla="*/ 2147483646 w 14"/>
                <a:gd name="T19" fmla="*/ 2147483646 h 15"/>
                <a:gd name="T20" fmla="*/ 2147483646 w 14"/>
                <a:gd name="T21" fmla="*/ 2147483646 h 15"/>
                <a:gd name="T22" fmla="*/ 2147483646 w 14"/>
                <a:gd name="T23" fmla="*/ 2147483646 h 15"/>
                <a:gd name="T24" fmla="*/ 0 w 14"/>
                <a:gd name="T25" fmla="*/ 2147483646 h 15"/>
                <a:gd name="T26" fmla="*/ 2147483646 w 14"/>
                <a:gd name="T27" fmla="*/ 2147483646 h 15"/>
                <a:gd name="T28" fmla="*/ 2147483646 w 14"/>
                <a:gd name="T29" fmla="*/ 2147483646 h 15"/>
                <a:gd name="T30" fmla="*/ 2147483646 w 14"/>
                <a:gd name="T31" fmla="*/ 2147483646 h 15"/>
                <a:gd name="T32" fmla="*/ 2147483646 w 14"/>
                <a:gd name="T33" fmla="*/ 2147483646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4" h="15">
                  <a:moveTo>
                    <a:pt x="2" y="7"/>
                  </a:moveTo>
                  <a:lnTo>
                    <a:pt x="9" y="13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0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1" y="6"/>
                  </a:lnTo>
                  <a:lnTo>
                    <a:pt x="2" y="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6" name="Freeform 430"/>
            <p:cNvSpPr>
              <a:spLocks/>
            </p:cNvSpPr>
            <p:nvPr/>
          </p:nvSpPr>
          <p:spPr bwMode="auto">
            <a:xfrm>
              <a:off x="2523448" y="2372658"/>
              <a:ext cx="133013" cy="114443"/>
            </a:xfrm>
            <a:custGeom>
              <a:avLst/>
              <a:gdLst>
                <a:gd name="T0" fmla="*/ 2147483646 w 135"/>
                <a:gd name="T1" fmla="*/ 2147483646 h 119"/>
                <a:gd name="T2" fmla="*/ 2147483646 w 135"/>
                <a:gd name="T3" fmla="*/ 2147483646 h 119"/>
                <a:gd name="T4" fmla="*/ 2147483646 w 135"/>
                <a:gd name="T5" fmla="*/ 2147483646 h 119"/>
                <a:gd name="T6" fmla="*/ 2147483646 w 135"/>
                <a:gd name="T7" fmla="*/ 2147483646 h 119"/>
                <a:gd name="T8" fmla="*/ 2147483646 w 135"/>
                <a:gd name="T9" fmla="*/ 2147483646 h 119"/>
                <a:gd name="T10" fmla="*/ 2147483646 w 135"/>
                <a:gd name="T11" fmla="*/ 2147483646 h 119"/>
                <a:gd name="T12" fmla="*/ 2147483646 w 135"/>
                <a:gd name="T13" fmla="*/ 2147483646 h 119"/>
                <a:gd name="T14" fmla="*/ 2147483646 w 135"/>
                <a:gd name="T15" fmla="*/ 2147483646 h 119"/>
                <a:gd name="T16" fmla="*/ 2147483646 w 135"/>
                <a:gd name="T17" fmla="*/ 2147483646 h 119"/>
                <a:gd name="T18" fmla="*/ 2147483646 w 135"/>
                <a:gd name="T19" fmla="*/ 2147483646 h 119"/>
                <a:gd name="T20" fmla="*/ 2147483646 w 135"/>
                <a:gd name="T21" fmla="*/ 2147483646 h 119"/>
                <a:gd name="T22" fmla="*/ 2147483646 w 135"/>
                <a:gd name="T23" fmla="*/ 2147483646 h 119"/>
                <a:gd name="T24" fmla="*/ 2147483646 w 135"/>
                <a:gd name="T25" fmla="*/ 2147483646 h 119"/>
                <a:gd name="T26" fmla="*/ 2147483646 w 135"/>
                <a:gd name="T27" fmla="*/ 2147483646 h 119"/>
                <a:gd name="T28" fmla="*/ 2147483646 w 135"/>
                <a:gd name="T29" fmla="*/ 2147483646 h 119"/>
                <a:gd name="T30" fmla="*/ 2147483646 w 135"/>
                <a:gd name="T31" fmla="*/ 2147483646 h 119"/>
                <a:gd name="T32" fmla="*/ 2147483646 w 135"/>
                <a:gd name="T33" fmla="*/ 2147483646 h 119"/>
                <a:gd name="T34" fmla="*/ 2147483646 w 135"/>
                <a:gd name="T35" fmla="*/ 2147483646 h 119"/>
                <a:gd name="T36" fmla="*/ 2147483646 w 135"/>
                <a:gd name="T37" fmla="*/ 2147483646 h 119"/>
                <a:gd name="T38" fmla="*/ 2147483646 w 135"/>
                <a:gd name="T39" fmla="*/ 2147483646 h 119"/>
                <a:gd name="T40" fmla="*/ 2147483646 w 135"/>
                <a:gd name="T41" fmla="*/ 2147483646 h 119"/>
                <a:gd name="T42" fmla="*/ 2147483646 w 135"/>
                <a:gd name="T43" fmla="*/ 2147483646 h 119"/>
                <a:gd name="T44" fmla="*/ 2147483646 w 135"/>
                <a:gd name="T45" fmla="*/ 2147483646 h 119"/>
                <a:gd name="T46" fmla="*/ 2147483646 w 135"/>
                <a:gd name="T47" fmla="*/ 2147483646 h 119"/>
                <a:gd name="T48" fmla="*/ 2147483646 w 135"/>
                <a:gd name="T49" fmla="*/ 2147483646 h 119"/>
                <a:gd name="T50" fmla="*/ 2147483646 w 135"/>
                <a:gd name="T51" fmla="*/ 2147483646 h 119"/>
                <a:gd name="T52" fmla="*/ 2147483646 w 135"/>
                <a:gd name="T53" fmla="*/ 2147483646 h 119"/>
                <a:gd name="T54" fmla="*/ 2147483646 w 135"/>
                <a:gd name="T55" fmla="*/ 2147483646 h 119"/>
                <a:gd name="T56" fmla="*/ 2147483646 w 135"/>
                <a:gd name="T57" fmla="*/ 2147483646 h 119"/>
                <a:gd name="T58" fmla="*/ 2147483646 w 135"/>
                <a:gd name="T59" fmla="*/ 2147483646 h 119"/>
                <a:gd name="T60" fmla="*/ 2147483646 w 135"/>
                <a:gd name="T61" fmla="*/ 2147483646 h 119"/>
                <a:gd name="T62" fmla="*/ 2147483646 w 135"/>
                <a:gd name="T63" fmla="*/ 2147483646 h 119"/>
                <a:gd name="T64" fmla="*/ 2147483646 w 135"/>
                <a:gd name="T65" fmla="*/ 2147483646 h 119"/>
                <a:gd name="T66" fmla="*/ 2147483646 w 135"/>
                <a:gd name="T67" fmla="*/ 2147483646 h 119"/>
                <a:gd name="T68" fmla="*/ 2147483646 w 135"/>
                <a:gd name="T69" fmla="*/ 2147483646 h 119"/>
                <a:gd name="T70" fmla="*/ 2147483646 w 135"/>
                <a:gd name="T71" fmla="*/ 2147483646 h 119"/>
                <a:gd name="T72" fmla="*/ 2147483646 w 135"/>
                <a:gd name="T73" fmla="*/ 2147483646 h 119"/>
                <a:gd name="T74" fmla="*/ 2147483646 w 135"/>
                <a:gd name="T75" fmla="*/ 2147483646 h 119"/>
                <a:gd name="T76" fmla="*/ 2147483646 w 135"/>
                <a:gd name="T77" fmla="*/ 2147483646 h 119"/>
                <a:gd name="T78" fmla="*/ 2147483646 w 135"/>
                <a:gd name="T79" fmla="*/ 2147483646 h 119"/>
                <a:gd name="T80" fmla="*/ 2147483646 w 135"/>
                <a:gd name="T81" fmla="*/ 2147483646 h 11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119">
                  <a:moveTo>
                    <a:pt x="122" y="59"/>
                  </a:moveTo>
                  <a:lnTo>
                    <a:pt x="124" y="60"/>
                  </a:lnTo>
                  <a:lnTo>
                    <a:pt x="130" y="62"/>
                  </a:lnTo>
                  <a:lnTo>
                    <a:pt x="135" y="67"/>
                  </a:lnTo>
                  <a:lnTo>
                    <a:pt x="133" y="71"/>
                  </a:lnTo>
                  <a:lnTo>
                    <a:pt x="129" y="76"/>
                  </a:lnTo>
                  <a:lnTo>
                    <a:pt x="126" y="78"/>
                  </a:lnTo>
                  <a:lnTo>
                    <a:pt x="124" y="81"/>
                  </a:lnTo>
                  <a:lnTo>
                    <a:pt x="121" y="83"/>
                  </a:lnTo>
                  <a:lnTo>
                    <a:pt x="118" y="83"/>
                  </a:lnTo>
                  <a:lnTo>
                    <a:pt x="116" y="83"/>
                  </a:lnTo>
                  <a:lnTo>
                    <a:pt x="114" y="82"/>
                  </a:lnTo>
                  <a:lnTo>
                    <a:pt x="108" y="79"/>
                  </a:lnTo>
                  <a:lnTo>
                    <a:pt x="101" y="77"/>
                  </a:lnTo>
                  <a:lnTo>
                    <a:pt x="95" y="75"/>
                  </a:lnTo>
                  <a:lnTo>
                    <a:pt x="91" y="74"/>
                  </a:lnTo>
                  <a:lnTo>
                    <a:pt x="86" y="71"/>
                  </a:lnTo>
                  <a:lnTo>
                    <a:pt x="82" y="68"/>
                  </a:lnTo>
                  <a:lnTo>
                    <a:pt x="77" y="66"/>
                  </a:lnTo>
                  <a:lnTo>
                    <a:pt x="72" y="66"/>
                  </a:lnTo>
                  <a:lnTo>
                    <a:pt x="70" y="70"/>
                  </a:lnTo>
                  <a:lnTo>
                    <a:pt x="71" y="78"/>
                  </a:lnTo>
                  <a:lnTo>
                    <a:pt x="72" y="85"/>
                  </a:lnTo>
                  <a:lnTo>
                    <a:pt x="72" y="92"/>
                  </a:lnTo>
                  <a:lnTo>
                    <a:pt x="68" y="96"/>
                  </a:lnTo>
                  <a:lnTo>
                    <a:pt x="61" y="99"/>
                  </a:lnTo>
                  <a:lnTo>
                    <a:pt x="58" y="102"/>
                  </a:lnTo>
                  <a:lnTo>
                    <a:pt x="57" y="107"/>
                  </a:lnTo>
                  <a:lnTo>
                    <a:pt x="56" y="111"/>
                  </a:lnTo>
                  <a:lnTo>
                    <a:pt x="53" y="114"/>
                  </a:lnTo>
                  <a:lnTo>
                    <a:pt x="48" y="117"/>
                  </a:lnTo>
                  <a:lnTo>
                    <a:pt x="44" y="119"/>
                  </a:lnTo>
                  <a:lnTo>
                    <a:pt x="40" y="116"/>
                  </a:lnTo>
                  <a:lnTo>
                    <a:pt x="39" y="111"/>
                  </a:lnTo>
                  <a:lnTo>
                    <a:pt x="38" y="105"/>
                  </a:lnTo>
                  <a:lnTo>
                    <a:pt x="34" y="100"/>
                  </a:lnTo>
                  <a:lnTo>
                    <a:pt x="29" y="99"/>
                  </a:lnTo>
                  <a:lnTo>
                    <a:pt x="23" y="99"/>
                  </a:lnTo>
                  <a:lnTo>
                    <a:pt x="20" y="100"/>
                  </a:lnTo>
                  <a:lnTo>
                    <a:pt x="17" y="101"/>
                  </a:lnTo>
                  <a:lnTo>
                    <a:pt x="10" y="104"/>
                  </a:lnTo>
                  <a:lnTo>
                    <a:pt x="3" y="105"/>
                  </a:lnTo>
                  <a:lnTo>
                    <a:pt x="0" y="101"/>
                  </a:lnTo>
                  <a:lnTo>
                    <a:pt x="1" y="97"/>
                  </a:lnTo>
                  <a:lnTo>
                    <a:pt x="4" y="90"/>
                  </a:lnTo>
                  <a:lnTo>
                    <a:pt x="9" y="84"/>
                  </a:lnTo>
                  <a:lnTo>
                    <a:pt x="12" y="82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4" y="68"/>
                  </a:lnTo>
                  <a:lnTo>
                    <a:pt x="12" y="61"/>
                  </a:lnTo>
                  <a:lnTo>
                    <a:pt x="11" y="55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0" y="39"/>
                  </a:lnTo>
                  <a:lnTo>
                    <a:pt x="8" y="35"/>
                  </a:lnTo>
                  <a:lnTo>
                    <a:pt x="8" y="26"/>
                  </a:lnTo>
                  <a:lnTo>
                    <a:pt x="8" y="16"/>
                  </a:lnTo>
                  <a:lnTo>
                    <a:pt x="8" y="8"/>
                  </a:lnTo>
                  <a:lnTo>
                    <a:pt x="9" y="2"/>
                  </a:lnTo>
                  <a:lnTo>
                    <a:pt x="12" y="0"/>
                  </a:lnTo>
                  <a:lnTo>
                    <a:pt x="18" y="1"/>
                  </a:lnTo>
                  <a:lnTo>
                    <a:pt x="24" y="3"/>
                  </a:lnTo>
                  <a:lnTo>
                    <a:pt x="27" y="9"/>
                  </a:lnTo>
                  <a:lnTo>
                    <a:pt x="30" y="18"/>
                  </a:lnTo>
                  <a:lnTo>
                    <a:pt x="32" y="26"/>
                  </a:lnTo>
                  <a:lnTo>
                    <a:pt x="33" y="30"/>
                  </a:lnTo>
                  <a:lnTo>
                    <a:pt x="37" y="30"/>
                  </a:lnTo>
                  <a:lnTo>
                    <a:pt x="40" y="28"/>
                  </a:lnTo>
                  <a:lnTo>
                    <a:pt x="44" y="25"/>
                  </a:lnTo>
                  <a:lnTo>
                    <a:pt x="48" y="23"/>
                  </a:lnTo>
                  <a:lnTo>
                    <a:pt x="54" y="23"/>
                  </a:lnTo>
                  <a:lnTo>
                    <a:pt x="61" y="24"/>
                  </a:lnTo>
                  <a:lnTo>
                    <a:pt x="70" y="26"/>
                  </a:lnTo>
                  <a:lnTo>
                    <a:pt x="78" y="30"/>
                  </a:lnTo>
                  <a:lnTo>
                    <a:pt x="85" y="33"/>
                  </a:lnTo>
                  <a:lnTo>
                    <a:pt x="90" y="40"/>
                  </a:lnTo>
                  <a:lnTo>
                    <a:pt x="93" y="48"/>
                  </a:lnTo>
                  <a:lnTo>
                    <a:pt x="98" y="54"/>
                  </a:lnTo>
                  <a:lnTo>
                    <a:pt x="100" y="58"/>
                  </a:lnTo>
                  <a:lnTo>
                    <a:pt x="101" y="59"/>
                  </a:lnTo>
                  <a:lnTo>
                    <a:pt x="122" y="5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7" name="Freeform 431"/>
            <p:cNvSpPr>
              <a:spLocks/>
            </p:cNvSpPr>
            <p:nvPr/>
          </p:nvSpPr>
          <p:spPr bwMode="auto">
            <a:xfrm>
              <a:off x="2416744" y="2029331"/>
              <a:ext cx="551057" cy="379467"/>
            </a:xfrm>
            <a:custGeom>
              <a:avLst/>
              <a:gdLst>
                <a:gd name="T0" fmla="*/ 2147483646 w 556"/>
                <a:gd name="T1" fmla="*/ 2147483646 h 395"/>
                <a:gd name="T2" fmla="*/ 2147483646 w 556"/>
                <a:gd name="T3" fmla="*/ 2147483646 h 395"/>
                <a:gd name="T4" fmla="*/ 2147483646 w 556"/>
                <a:gd name="T5" fmla="*/ 2147483646 h 395"/>
                <a:gd name="T6" fmla="*/ 2147483646 w 556"/>
                <a:gd name="T7" fmla="*/ 2147483646 h 395"/>
                <a:gd name="T8" fmla="*/ 2147483646 w 556"/>
                <a:gd name="T9" fmla="*/ 2147483646 h 395"/>
                <a:gd name="T10" fmla="*/ 2147483646 w 556"/>
                <a:gd name="T11" fmla="*/ 2147483646 h 395"/>
                <a:gd name="T12" fmla="*/ 2147483646 w 556"/>
                <a:gd name="T13" fmla="*/ 2147483646 h 395"/>
                <a:gd name="T14" fmla="*/ 2147483646 w 556"/>
                <a:gd name="T15" fmla="*/ 2147483646 h 395"/>
                <a:gd name="T16" fmla="*/ 2147483646 w 556"/>
                <a:gd name="T17" fmla="*/ 2147483646 h 395"/>
                <a:gd name="T18" fmla="*/ 2147483646 w 556"/>
                <a:gd name="T19" fmla="*/ 2147483646 h 395"/>
                <a:gd name="T20" fmla="*/ 2147483646 w 556"/>
                <a:gd name="T21" fmla="*/ 2147483646 h 395"/>
                <a:gd name="T22" fmla="*/ 2147483646 w 556"/>
                <a:gd name="T23" fmla="*/ 2147483646 h 395"/>
                <a:gd name="T24" fmla="*/ 2147483646 w 556"/>
                <a:gd name="T25" fmla="*/ 2147483646 h 395"/>
                <a:gd name="T26" fmla="*/ 2147483646 w 556"/>
                <a:gd name="T27" fmla="*/ 2147483646 h 395"/>
                <a:gd name="T28" fmla="*/ 2147483646 w 556"/>
                <a:gd name="T29" fmla="*/ 2147483646 h 395"/>
                <a:gd name="T30" fmla="*/ 2147483646 w 556"/>
                <a:gd name="T31" fmla="*/ 2147483646 h 395"/>
                <a:gd name="T32" fmla="*/ 2147483646 w 556"/>
                <a:gd name="T33" fmla="*/ 2147483646 h 395"/>
                <a:gd name="T34" fmla="*/ 2147483646 w 556"/>
                <a:gd name="T35" fmla="*/ 2147483646 h 395"/>
                <a:gd name="T36" fmla="*/ 2147483646 w 556"/>
                <a:gd name="T37" fmla="*/ 2147483646 h 395"/>
                <a:gd name="T38" fmla="*/ 2147483646 w 556"/>
                <a:gd name="T39" fmla="*/ 2147483646 h 395"/>
                <a:gd name="T40" fmla="*/ 2147483646 w 556"/>
                <a:gd name="T41" fmla="*/ 2147483646 h 395"/>
                <a:gd name="T42" fmla="*/ 2147483646 w 556"/>
                <a:gd name="T43" fmla="*/ 2147483646 h 395"/>
                <a:gd name="T44" fmla="*/ 2147483646 w 556"/>
                <a:gd name="T45" fmla="*/ 2147483646 h 395"/>
                <a:gd name="T46" fmla="*/ 2147483646 w 556"/>
                <a:gd name="T47" fmla="*/ 2147483646 h 395"/>
                <a:gd name="T48" fmla="*/ 2147483646 w 556"/>
                <a:gd name="T49" fmla="*/ 2147483646 h 395"/>
                <a:gd name="T50" fmla="*/ 0 w 556"/>
                <a:gd name="T51" fmla="*/ 2147483646 h 395"/>
                <a:gd name="T52" fmla="*/ 2147483646 w 556"/>
                <a:gd name="T53" fmla="*/ 2147483646 h 395"/>
                <a:gd name="T54" fmla="*/ 2147483646 w 556"/>
                <a:gd name="T55" fmla="*/ 2147483646 h 395"/>
                <a:gd name="T56" fmla="*/ 2147483646 w 556"/>
                <a:gd name="T57" fmla="*/ 2147483646 h 395"/>
                <a:gd name="T58" fmla="*/ 2147483646 w 556"/>
                <a:gd name="T59" fmla="*/ 2147483646 h 395"/>
                <a:gd name="T60" fmla="*/ 2147483646 w 556"/>
                <a:gd name="T61" fmla="*/ 2147483646 h 395"/>
                <a:gd name="T62" fmla="*/ 2147483646 w 556"/>
                <a:gd name="T63" fmla="*/ 2147483646 h 395"/>
                <a:gd name="T64" fmla="*/ 2147483646 w 556"/>
                <a:gd name="T65" fmla="*/ 2147483646 h 395"/>
                <a:gd name="T66" fmla="*/ 2147483646 w 556"/>
                <a:gd name="T67" fmla="*/ 2147483646 h 395"/>
                <a:gd name="T68" fmla="*/ 2147483646 w 556"/>
                <a:gd name="T69" fmla="*/ 2147483646 h 395"/>
                <a:gd name="T70" fmla="*/ 2147483646 w 556"/>
                <a:gd name="T71" fmla="*/ 2147483646 h 395"/>
                <a:gd name="T72" fmla="*/ 2147483646 w 556"/>
                <a:gd name="T73" fmla="*/ 2147483646 h 395"/>
                <a:gd name="T74" fmla="*/ 2147483646 w 556"/>
                <a:gd name="T75" fmla="*/ 2147483646 h 395"/>
                <a:gd name="T76" fmla="*/ 2147483646 w 556"/>
                <a:gd name="T77" fmla="*/ 2147483646 h 395"/>
                <a:gd name="T78" fmla="*/ 2147483646 w 556"/>
                <a:gd name="T79" fmla="*/ 2147483646 h 395"/>
                <a:gd name="T80" fmla="*/ 2147483646 w 556"/>
                <a:gd name="T81" fmla="*/ 2147483646 h 395"/>
                <a:gd name="T82" fmla="*/ 2147483646 w 556"/>
                <a:gd name="T83" fmla="*/ 2147483646 h 395"/>
                <a:gd name="T84" fmla="*/ 2147483646 w 556"/>
                <a:gd name="T85" fmla="*/ 2147483646 h 395"/>
                <a:gd name="T86" fmla="*/ 2147483646 w 556"/>
                <a:gd name="T87" fmla="*/ 2147483646 h 395"/>
                <a:gd name="T88" fmla="*/ 2147483646 w 556"/>
                <a:gd name="T89" fmla="*/ 2147483646 h 395"/>
                <a:gd name="T90" fmla="*/ 2147483646 w 556"/>
                <a:gd name="T91" fmla="*/ 2147483646 h 395"/>
                <a:gd name="T92" fmla="*/ 2147483646 w 556"/>
                <a:gd name="T93" fmla="*/ 2147483646 h 395"/>
                <a:gd name="T94" fmla="*/ 2147483646 w 556"/>
                <a:gd name="T95" fmla="*/ 2147483646 h 395"/>
                <a:gd name="T96" fmla="*/ 2147483646 w 556"/>
                <a:gd name="T97" fmla="*/ 2147483646 h 395"/>
                <a:gd name="T98" fmla="*/ 2147483646 w 556"/>
                <a:gd name="T99" fmla="*/ 2147483646 h 395"/>
                <a:gd name="T100" fmla="*/ 2147483646 w 556"/>
                <a:gd name="T101" fmla="*/ 2147483646 h 395"/>
                <a:gd name="T102" fmla="*/ 2147483646 w 556"/>
                <a:gd name="T103" fmla="*/ 2147483646 h 395"/>
                <a:gd name="T104" fmla="*/ 2147483646 w 556"/>
                <a:gd name="T105" fmla="*/ 2147483646 h 395"/>
                <a:gd name="T106" fmla="*/ 2147483646 w 556"/>
                <a:gd name="T107" fmla="*/ 2147483646 h 395"/>
                <a:gd name="T108" fmla="*/ 2147483646 w 556"/>
                <a:gd name="T109" fmla="*/ 2147483646 h 395"/>
                <a:gd name="T110" fmla="*/ 2147483646 w 556"/>
                <a:gd name="T111" fmla="*/ 2147483646 h 395"/>
                <a:gd name="T112" fmla="*/ 2147483646 w 556"/>
                <a:gd name="T113" fmla="*/ 2147483646 h 395"/>
                <a:gd name="T114" fmla="*/ 2147483646 w 556"/>
                <a:gd name="T115" fmla="*/ 2147483646 h 395"/>
                <a:gd name="T116" fmla="*/ 2147483646 w 556"/>
                <a:gd name="T117" fmla="*/ 2147483646 h 395"/>
                <a:gd name="T118" fmla="*/ 2147483646 w 556"/>
                <a:gd name="T119" fmla="*/ 2147483646 h 395"/>
                <a:gd name="T120" fmla="*/ 2147483646 w 556"/>
                <a:gd name="T121" fmla="*/ 2147483646 h 395"/>
                <a:gd name="T122" fmla="*/ 2147483646 w 556"/>
                <a:gd name="T123" fmla="*/ 2147483646 h 395"/>
                <a:gd name="T124" fmla="*/ 2147483646 w 556"/>
                <a:gd name="T125" fmla="*/ 2147483646 h 3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56" h="395">
                  <a:moveTo>
                    <a:pt x="539" y="379"/>
                  </a:moveTo>
                  <a:lnTo>
                    <a:pt x="540" y="380"/>
                  </a:lnTo>
                  <a:lnTo>
                    <a:pt x="542" y="383"/>
                  </a:lnTo>
                  <a:lnTo>
                    <a:pt x="541" y="387"/>
                  </a:lnTo>
                  <a:lnTo>
                    <a:pt x="533" y="388"/>
                  </a:lnTo>
                  <a:lnTo>
                    <a:pt x="527" y="388"/>
                  </a:lnTo>
                  <a:lnTo>
                    <a:pt x="523" y="387"/>
                  </a:lnTo>
                  <a:lnTo>
                    <a:pt x="518" y="387"/>
                  </a:lnTo>
                  <a:lnTo>
                    <a:pt x="514" y="388"/>
                  </a:lnTo>
                  <a:lnTo>
                    <a:pt x="510" y="388"/>
                  </a:lnTo>
                  <a:lnTo>
                    <a:pt x="506" y="389"/>
                  </a:lnTo>
                  <a:lnTo>
                    <a:pt x="501" y="390"/>
                  </a:lnTo>
                  <a:lnTo>
                    <a:pt x="495" y="392"/>
                  </a:lnTo>
                  <a:lnTo>
                    <a:pt x="488" y="393"/>
                  </a:lnTo>
                  <a:lnTo>
                    <a:pt x="482" y="394"/>
                  </a:lnTo>
                  <a:lnTo>
                    <a:pt x="478" y="395"/>
                  </a:lnTo>
                  <a:lnTo>
                    <a:pt x="473" y="395"/>
                  </a:lnTo>
                  <a:lnTo>
                    <a:pt x="468" y="395"/>
                  </a:lnTo>
                  <a:lnTo>
                    <a:pt x="464" y="394"/>
                  </a:lnTo>
                  <a:lnTo>
                    <a:pt x="459" y="394"/>
                  </a:lnTo>
                  <a:lnTo>
                    <a:pt x="453" y="393"/>
                  </a:lnTo>
                  <a:lnTo>
                    <a:pt x="449" y="393"/>
                  </a:lnTo>
                  <a:lnTo>
                    <a:pt x="444" y="393"/>
                  </a:lnTo>
                  <a:lnTo>
                    <a:pt x="440" y="394"/>
                  </a:lnTo>
                  <a:lnTo>
                    <a:pt x="435" y="395"/>
                  </a:lnTo>
                  <a:lnTo>
                    <a:pt x="430" y="395"/>
                  </a:lnTo>
                  <a:lnTo>
                    <a:pt x="427" y="395"/>
                  </a:lnTo>
                  <a:lnTo>
                    <a:pt x="422" y="394"/>
                  </a:lnTo>
                  <a:lnTo>
                    <a:pt x="419" y="392"/>
                  </a:lnTo>
                  <a:lnTo>
                    <a:pt x="414" y="386"/>
                  </a:lnTo>
                  <a:lnTo>
                    <a:pt x="413" y="380"/>
                  </a:lnTo>
                  <a:lnTo>
                    <a:pt x="409" y="375"/>
                  </a:lnTo>
                  <a:lnTo>
                    <a:pt x="397" y="372"/>
                  </a:lnTo>
                  <a:lnTo>
                    <a:pt x="389" y="371"/>
                  </a:lnTo>
                  <a:lnTo>
                    <a:pt x="382" y="368"/>
                  </a:lnTo>
                  <a:lnTo>
                    <a:pt x="376" y="366"/>
                  </a:lnTo>
                  <a:lnTo>
                    <a:pt x="372" y="364"/>
                  </a:lnTo>
                  <a:lnTo>
                    <a:pt x="368" y="362"/>
                  </a:lnTo>
                  <a:lnTo>
                    <a:pt x="365" y="359"/>
                  </a:lnTo>
                  <a:lnTo>
                    <a:pt x="362" y="358"/>
                  </a:lnTo>
                  <a:lnTo>
                    <a:pt x="359" y="356"/>
                  </a:lnTo>
                  <a:lnTo>
                    <a:pt x="354" y="352"/>
                  </a:lnTo>
                  <a:lnTo>
                    <a:pt x="350" y="351"/>
                  </a:lnTo>
                  <a:lnTo>
                    <a:pt x="344" y="352"/>
                  </a:lnTo>
                  <a:lnTo>
                    <a:pt x="335" y="357"/>
                  </a:lnTo>
                  <a:lnTo>
                    <a:pt x="324" y="362"/>
                  </a:lnTo>
                  <a:lnTo>
                    <a:pt x="316" y="363"/>
                  </a:lnTo>
                  <a:lnTo>
                    <a:pt x="309" y="365"/>
                  </a:lnTo>
                  <a:lnTo>
                    <a:pt x="304" y="370"/>
                  </a:lnTo>
                  <a:lnTo>
                    <a:pt x="297" y="377"/>
                  </a:lnTo>
                  <a:lnTo>
                    <a:pt x="290" y="381"/>
                  </a:lnTo>
                  <a:lnTo>
                    <a:pt x="283" y="381"/>
                  </a:lnTo>
                  <a:lnTo>
                    <a:pt x="276" y="377"/>
                  </a:lnTo>
                  <a:lnTo>
                    <a:pt x="271" y="373"/>
                  </a:lnTo>
                  <a:lnTo>
                    <a:pt x="267" y="370"/>
                  </a:lnTo>
                  <a:lnTo>
                    <a:pt x="262" y="366"/>
                  </a:lnTo>
                  <a:lnTo>
                    <a:pt x="259" y="363"/>
                  </a:lnTo>
                  <a:lnTo>
                    <a:pt x="256" y="358"/>
                  </a:lnTo>
                  <a:lnTo>
                    <a:pt x="256" y="355"/>
                  </a:lnTo>
                  <a:lnTo>
                    <a:pt x="260" y="350"/>
                  </a:lnTo>
                  <a:lnTo>
                    <a:pt x="268" y="344"/>
                  </a:lnTo>
                  <a:lnTo>
                    <a:pt x="277" y="340"/>
                  </a:lnTo>
                  <a:lnTo>
                    <a:pt x="283" y="337"/>
                  </a:lnTo>
                  <a:lnTo>
                    <a:pt x="288" y="337"/>
                  </a:lnTo>
                  <a:lnTo>
                    <a:pt x="291" y="337"/>
                  </a:lnTo>
                  <a:lnTo>
                    <a:pt x="293" y="337"/>
                  </a:lnTo>
                  <a:lnTo>
                    <a:pt x="296" y="336"/>
                  </a:lnTo>
                  <a:lnTo>
                    <a:pt x="300" y="334"/>
                  </a:lnTo>
                  <a:lnTo>
                    <a:pt x="305" y="329"/>
                  </a:lnTo>
                  <a:lnTo>
                    <a:pt x="316" y="320"/>
                  </a:lnTo>
                  <a:lnTo>
                    <a:pt x="326" y="313"/>
                  </a:lnTo>
                  <a:lnTo>
                    <a:pt x="330" y="307"/>
                  </a:lnTo>
                  <a:lnTo>
                    <a:pt x="327" y="301"/>
                  </a:lnTo>
                  <a:lnTo>
                    <a:pt x="318" y="295"/>
                  </a:lnTo>
                  <a:lnTo>
                    <a:pt x="308" y="292"/>
                  </a:lnTo>
                  <a:lnTo>
                    <a:pt x="305" y="287"/>
                  </a:lnTo>
                  <a:lnTo>
                    <a:pt x="309" y="273"/>
                  </a:lnTo>
                  <a:lnTo>
                    <a:pt x="320" y="258"/>
                  </a:lnTo>
                  <a:lnTo>
                    <a:pt x="328" y="246"/>
                  </a:lnTo>
                  <a:lnTo>
                    <a:pt x="327" y="235"/>
                  </a:lnTo>
                  <a:lnTo>
                    <a:pt x="315" y="218"/>
                  </a:lnTo>
                  <a:lnTo>
                    <a:pt x="306" y="208"/>
                  </a:lnTo>
                  <a:lnTo>
                    <a:pt x="297" y="200"/>
                  </a:lnTo>
                  <a:lnTo>
                    <a:pt x="289" y="193"/>
                  </a:lnTo>
                  <a:lnTo>
                    <a:pt x="282" y="188"/>
                  </a:lnTo>
                  <a:lnTo>
                    <a:pt x="274" y="183"/>
                  </a:lnTo>
                  <a:lnTo>
                    <a:pt x="267" y="180"/>
                  </a:lnTo>
                  <a:lnTo>
                    <a:pt x="260" y="176"/>
                  </a:lnTo>
                  <a:lnTo>
                    <a:pt x="252" y="173"/>
                  </a:lnTo>
                  <a:lnTo>
                    <a:pt x="244" y="169"/>
                  </a:lnTo>
                  <a:lnTo>
                    <a:pt x="236" y="166"/>
                  </a:lnTo>
                  <a:lnTo>
                    <a:pt x="228" y="161"/>
                  </a:lnTo>
                  <a:lnTo>
                    <a:pt x="221" y="156"/>
                  </a:lnTo>
                  <a:lnTo>
                    <a:pt x="214" y="152"/>
                  </a:lnTo>
                  <a:lnTo>
                    <a:pt x="208" y="148"/>
                  </a:lnTo>
                  <a:lnTo>
                    <a:pt x="202" y="145"/>
                  </a:lnTo>
                  <a:lnTo>
                    <a:pt x="199" y="142"/>
                  </a:lnTo>
                  <a:lnTo>
                    <a:pt x="191" y="137"/>
                  </a:lnTo>
                  <a:lnTo>
                    <a:pt x="183" y="132"/>
                  </a:lnTo>
                  <a:lnTo>
                    <a:pt x="178" y="131"/>
                  </a:lnTo>
                  <a:lnTo>
                    <a:pt x="179" y="137"/>
                  </a:lnTo>
                  <a:lnTo>
                    <a:pt x="185" y="146"/>
                  </a:lnTo>
                  <a:lnTo>
                    <a:pt x="186" y="152"/>
                  </a:lnTo>
                  <a:lnTo>
                    <a:pt x="183" y="155"/>
                  </a:lnTo>
                  <a:lnTo>
                    <a:pt x="171" y="155"/>
                  </a:lnTo>
                  <a:lnTo>
                    <a:pt x="163" y="155"/>
                  </a:lnTo>
                  <a:lnTo>
                    <a:pt x="159" y="155"/>
                  </a:lnTo>
                  <a:lnTo>
                    <a:pt x="154" y="156"/>
                  </a:lnTo>
                  <a:lnTo>
                    <a:pt x="151" y="159"/>
                  </a:lnTo>
                  <a:lnTo>
                    <a:pt x="147" y="161"/>
                  </a:lnTo>
                  <a:lnTo>
                    <a:pt x="142" y="162"/>
                  </a:lnTo>
                  <a:lnTo>
                    <a:pt x="138" y="163"/>
                  </a:lnTo>
                  <a:lnTo>
                    <a:pt x="131" y="165"/>
                  </a:lnTo>
                  <a:lnTo>
                    <a:pt x="124" y="166"/>
                  </a:lnTo>
                  <a:lnTo>
                    <a:pt x="118" y="167"/>
                  </a:lnTo>
                  <a:lnTo>
                    <a:pt x="114" y="168"/>
                  </a:lnTo>
                  <a:lnTo>
                    <a:pt x="110" y="169"/>
                  </a:lnTo>
                  <a:lnTo>
                    <a:pt x="106" y="170"/>
                  </a:lnTo>
                  <a:lnTo>
                    <a:pt x="101" y="170"/>
                  </a:lnTo>
                  <a:lnTo>
                    <a:pt x="95" y="170"/>
                  </a:lnTo>
                  <a:lnTo>
                    <a:pt x="87" y="169"/>
                  </a:lnTo>
                  <a:lnTo>
                    <a:pt x="74" y="166"/>
                  </a:lnTo>
                  <a:lnTo>
                    <a:pt x="70" y="162"/>
                  </a:lnTo>
                  <a:lnTo>
                    <a:pt x="66" y="160"/>
                  </a:lnTo>
                  <a:lnTo>
                    <a:pt x="60" y="161"/>
                  </a:lnTo>
                  <a:lnTo>
                    <a:pt x="51" y="166"/>
                  </a:lnTo>
                  <a:lnTo>
                    <a:pt x="47" y="168"/>
                  </a:lnTo>
                  <a:lnTo>
                    <a:pt x="43" y="168"/>
                  </a:lnTo>
                  <a:lnTo>
                    <a:pt x="35" y="163"/>
                  </a:lnTo>
                  <a:lnTo>
                    <a:pt x="30" y="160"/>
                  </a:lnTo>
                  <a:lnTo>
                    <a:pt x="24" y="156"/>
                  </a:lnTo>
                  <a:lnTo>
                    <a:pt x="18" y="153"/>
                  </a:lnTo>
                  <a:lnTo>
                    <a:pt x="13" y="151"/>
                  </a:lnTo>
                  <a:lnTo>
                    <a:pt x="10" y="148"/>
                  </a:lnTo>
                  <a:lnTo>
                    <a:pt x="9" y="145"/>
                  </a:lnTo>
                  <a:lnTo>
                    <a:pt x="11" y="143"/>
                  </a:lnTo>
                  <a:lnTo>
                    <a:pt x="16" y="140"/>
                  </a:lnTo>
                  <a:lnTo>
                    <a:pt x="23" y="138"/>
                  </a:lnTo>
                  <a:lnTo>
                    <a:pt x="30" y="137"/>
                  </a:lnTo>
                  <a:lnTo>
                    <a:pt x="36" y="136"/>
                  </a:lnTo>
                  <a:lnTo>
                    <a:pt x="41" y="135"/>
                  </a:lnTo>
                  <a:lnTo>
                    <a:pt x="45" y="133"/>
                  </a:lnTo>
                  <a:lnTo>
                    <a:pt x="45" y="132"/>
                  </a:lnTo>
                  <a:lnTo>
                    <a:pt x="42" y="130"/>
                  </a:lnTo>
                  <a:lnTo>
                    <a:pt x="35" y="128"/>
                  </a:lnTo>
                  <a:lnTo>
                    <a:pt x="27" y="125"/>
                  </a:lnTo>
                  <a:lnTo>
                    <a:pt x="19" y="123"/>
                  </a:lnTo>
                  <a:lnTo>
                    <a:pt x="13" y="122"/>
                  </a:lnTo>
                  <a:lnTo>
                    <a:pt x="9" y="121"/>
                  </a:lnTo>
                  <a:lnTo>
                    <a:pt x="4" y="118"/>
                  </a:lnTo>
                  <a:lnTo>
                    <a:pt x="2" y="116"/>
                  </a:lnTo>
                  <a:lnTo>
                    <a:pt x="0" y="112"/>
                  </a:lnTo>
                  <a:lnTo>
                    <a:pt x="0" y="105"/>
                  </a:lnTo>
                  <a:lnTo>
                    <a:pt x="0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1" y="60"/>
                  </a:lnTo>
                  <a:lnTo>
                    <a:pt x="5" y="39"/>
                  </a:lnTo>
                  <a:lnTo>
                    <a:pt x="12" y="21"/>
                  </a:lnTo>
                  <a:lnTo>
                    <a:pt x="22" y="9"/>
                  </a:lnTo>
                  <a:lnTo>
                    <a:pt x="31" y="3"/>
                  </a:lnTo>
                  <a:lnTo>
                    <a:pt x="39" y="3"/>
                  </a:lnTo>
                  <a:lnTo>
                    <a:pt x="46" y="6"/>
                  </a:lnTo>
                  <a:lnTo>
                    <a:pt x="50" y="10"/>
                  </a:lnTo>
                  <a:lnTo>
                    <a:pt x="49" y="19"/>
                  </a:lnTo>
                  <a:lnTo>
                    <a:pt x="43" y="40"/>
                  </a:lnTo>
                  <a:lnTo>
                    <a:pt x="42" y="56"/>
                  </a:lnTo>
                  <a:lnTo>
                    <a:pt x="45" y="70"/>
                  </a:lnTo>
                  <a:lnTo>
                    <a:pt x="50" y="80"/>
                  </a:lnTo>
                  <a:lnTo>
                    <a:pt x="56" y="90"/>
                  </a:lnTo>
                  <a:lnTo>
                    <a:pt x="62" y="97"/>
                  </a:lnTo>
                  <a:lnTo>
                    <a:pt x="68" y="102"/>
                  </a:lnTo>
                  <a:lnTo>
                    <a:pt x="71" y="108"/>
                  </a:lnTo>
                  <a:lnTo>
                    <a:pt x="70" y="107"/>
                  </a:lnTo>
                  <a:lnTo>
                    <a:pt x="63" y="87"/>
                  </a:lnTo>
                  <a:lnTo>
                    <a:pt x="56" y="62"/>
                  </a:lnTo>
                  <a:lnTo>
                    <a:pt x="55" y="41"/>
                  </a:lnTo>
                  <a:lnTo>
                    <a:pt x="58" y="26"/>
                  </a:lnTo>
                  <a:lnTo>
                    <a:pt x="62" y="12"/>
                  </a:lnTo>
                  <a:lnTo>
                    <a:pt x="69" y="3"/>
                  </a:lnTo>
                  <a:lnTo>
                    <a:pt x="79" y="0"/>
                  </a:lnTo>
                  <a:lnTo>
                    <a:pt x="91" y="2"/>
                  </a:lnTo>
                  <a:lnTo>
                    <a:pt x="100" y="7"/>
                  </a:lnTo>
                  <a:lnTo>
                    <a:pt x="106" y="14"/>
                  </a:lnTo>
                  <a:lnTo>
                    <a:pt x="109" y="21"/>
                  </a:lnTo>
                  <a:lnTo>
                    <a:pt x="111" y="26"/>
                  </a:lnTo>
                  <a:lnTo>
                    <a:pt x="114" y="32"/>
                  </a:lnTo>
                  <a:lnTo>
                    <a:pt x="115" y="39"/>
                  </a:lnTo>
                  <a:lnTo>
                    <a:pt x="116" y="47"/>
                  </a:lnTo>
                  <a:lnTo>
                    <a:pt x="118" y="53"/>
                  </a:lnTo>
                  <a:lnTo>
                    <a:pt x="124" y="54"/>
                  </a:lnTo>
                  <a:lnTo>
                    <a:pt x="132" y="52"/>
                  </a:lnTo>
                  <a:lnTo>
                    <a:pt x="140" y="47"/>
                  </a:lnTo>
                  <a:lnTo>
                    <a:pt x="146" y="41"/>
                  </a:lnTo>
                  <a:lnTo>
                    <a:pt x="147" y="36"/>
                  </a:lnTo>
                  <a:lnTo>
                    <a:pt x="149" y="31"/>
                  </a:lnTo>
                  <a:lnTo>
                    <a:pt x="156" y="27"/>
                  </a:lnTo>
                  <a:lnTo>
                    <a:pt x="164" y="23"/>
                  </a:lnTo>
                  <a:lnTo>
                    <a:pt x="169" y="19"/>
                  </a:lnTo>
                  <a:lnTo>
                    <a:pt x="175" y="19"/>
                  </a:lnTo>
                  <a:lnTo>
                    <a:pt x="185" y="24"/>
                  </a:lnTo>
                  <a:lnTo>
                    <a:pt x="197" y="32"/>
                  </a:lnTo>
                  <a:lnTo>
                    <a:pt x="202" y="38"/>
                  </a:lnTo>
                  <a:lnTo>
                    <a:pt x="206" y="44"/>
                  </a:lnTo>
                  <a:lnTo>
                    <a:pt x="209" y="49"/>
                  </a:lnTo>
                  <a:lnTo>
                    <a:pt x="214" y="55"/>
                  </a:lnTo>
                  <a:lnTo>
                    <a:pt x="221" y="60"/>
                  </a:lnTo>
                  <a:lnTo>
                    <a:pt x="227" y="61"/>
                  </a:lnTo>
                  <a:lnTo>
                    <a:pt x="231" y="56"/>
                  </a:lnTo>
                  <a:lnTo>
                    <a:pt x="237" y="49"/>
                  </a:lnTo>
                  <a:lnTo>
                    <a:pt x="246" y="46"/>
                  </a:lnTo>
                  <a:lnTo>
                    <a:pt x="256" y="46"/>
                  </a:lnTo>
                  <a:lnTo>
                    <a:pt x="263" y="49"/>
                  </a:lnTo>
                  <a:lnTo>
                    <a:pt x="266" y="54"/>
                  </a:lnTo>
                  <a:lnTo>
                    <a:pt x="268" y="56"/>
                  </a:lnTo>
                  <a:lnTo>
                    <a:pt x="271" y="59"/>
                  </a:lnTo>
                  <a:lnTo>
                    <a:pt x="281" y="61"/>
                  </a:lnTo>
                  <a:lnTo>
                    <a:pt x="288" y="62"/>
                  </a:lnTo>
                  <a:lnTo>
                    <a:pt x="296" y="62"/>
                  </a:lnTo>
                  <a:lnTo>
                    <a:pt x="304" y="63"/>
                  </a:lnTo>
                  <a:lnTo>
                    <a:pt x="311" y="63"/>
                  </a:lnTo>
                  <a:lnTo>
                    <a:pt x="318" y="63"/>
                  </a:lnTo>
                  <a:lnTo>
                    <a:pt x="321" y="64"/>
                  </a:lnTo>
                  <a:lnTo>
                    <a:pt x="323" y="67"/>
                  </a:lnTo>
                  <a:lnTo>
                    <a:pt x="321" y="69"/>
                  </a:lnTo>
                  <a:lnTo>
                    <a:pt x="319" y="72"/>
                  </a:lnTo>
                  <a:lnTo>
                    <a:pt x="322" y="72"/>
                  </a:lnTo>
                  <a:lnTo>
                    <a:pt x="329" y="72"/>
                  </a:lnTo>
                  <a:lnTo>
                    <a:pt x="335" y="74"/>
                  </a:lnTo>
                  <a:lnTo>
                    <a:pt x="339" y="78"/>
                  </a:lnTo>
                  <a:lnTo>
                    <a:pt x="345" y="83"/>
                  </a:lnTo>
                  <a:lnTo>
                    <a:pt x="349" y="86"/>
                  </a:lnTo>
                  <a:lnTo>
                    <a:pt x="351" y="87"/>
                  </a:lnTo>
                  <a:lnTo>
                    <a:pt x="350" y="87"/>
                  </a:lnTo>
                  <a:lnTo>
                    <a:pt x="345" y="89"/>
                  </a:lnTo>
                  <a:lnTo>
                    <a:pt x="342" y="91"/>
                  </a:lnTo>
                  <a:lnTo>
                    <a:pt x="339" y="93"/>
                  </a:lnTo>
                  <a:lnTo>
                    <a:pt x="343" y="97"/>
                  </a:lnTo>
                  <a:lnTo>
                    <a:pt x="352" y="100"/>
                  </a:lnTo>
                  <a:lnTo>
                    <a:pt x="361" y="102"/>
                  </a:lnTo>
                  <a:lnTo>
                    <a:pt x="361" y="105"/>
                  </a:lnTo>
                  <a:lnTo>
                    <a:pt x="357" y="107"/>
                  </a:lnTo>
                  <a:lnTo>
                    <a:pt x="353" y="108"/>
                  </a:lnTo>
                  <a:lnTo>
                    <a:pt x="351" y="110"/>
                  </a:lnTo>
                  <a:lnTo>
                    <a:pt x="351" y="115"/>
                  </a:lnTo>
                  <a:lnTo>
                    <a:pt x="350" y="118"/>
                  </a:lnTo>
                  <a:lnTo>
                    <a:pt x="349" y="123"/>
                  </a:lnTo>
                  <a:lnTo>
                    <a:pt x="349" y="127"/>
                  </a:lnTo>
                  <a:lnTo>
                    <a:pt x="353" y="132"/>
                  </a:lnTo>
                  <a:lnTo>
                    <a:pt x="361" y="135"/>
                  </a:lnTo>
                  <a:lnTo>
                    <a:pt x="371" y="133"/>
                  </a:lnTo>
                  <a:lnTo>
                    <a:pt x="377" y="133"/>
                  </a:lnTo>
                  <a:lnTo>
                    <a:pt x="384" y="136"/>
                  </a:lnTo>
                  <a:lnTo>
                    <a:pt x="392" y="143"/>
                  </a:lnTo>
                  <a:lnTo>
                    <a:pt x="400" y="150"/>
                  </a:lnTo>
                  <a:lnTo>
                    <a:pt x="407" y="152"/>
                  </a:lnTo>
                  <a:lnTo>
                    <a:pt x="409" y="150"/>
                  </a:lnTo>
                  <a:lnTo>
                    <a:pt x="406" y="144"/>
                  </a:lnTo>
                  <a:lnTo>
                    <a:pt x="403" y="139"/>
                  </a:lnTo>
                  <a:lnTo>
                    <a:pt x="403" y="137"/>
                  </a:lnTo>
                  <a:lnTo>
                    <a:pt x="409" y="139"/>
                  </a:lnTo>
                  <a:lnTo>
                    <a:pt x="414" y="140"/>
                  </a:lnTo>
                  <a:lnTo>
                    <a:pt x="421" y="142"/>
                  </a:lnTo>
                  <a:lnTo>
                    <a:pt x="429" y="143"/>
                  </a:lnTo>
                  <a:lnTo>
                    <a:pt x="436" y="143"/>
                  </a:lnTo>
                  <a:lnTo>
                    <a:pt x="442" y="144"/>
                  </a:lnTo>
                  <a:lnTo>
                    <a:pt x="447" y="145"/>
                  </a:lnTo>
                  <a:lnTo>
                    <a:pt x="450" y="146"/>
                  </a:lnTo>
                  <a:lnTo>
                    <a:pt x="451" y="148"/>
                  </a:lnTo>
                  <a:lnTo>
                    <a:pt x="450" y="152"/>
                  </a:lnTo>
                  <a:lnTo>
                    <a:pt x="451" y="154"/>
                  </a:lnTo>
                  <a:lnTo>
                    <a:pt x="453" y="155"/>
                  </a:lnTo>
                  <a:lnTo>
                    <a:pt x="457" y="155"/>
                  </a:lnTo>
                  <a:lnTo>
                    <a:pt x="461" y="155"/>
                  </a:lnTo>
                  <a:lnTo>
                    <a:pt x="466" y="153"/>
                  </a:lnTo>
                  <a:lnTo>
                    <a:pt x="472" y="152"/>
                  </a:lnTo>
                  <a:lnTo>
                    <a:pt x="480" y="152"/>
                  </a:lnTo>
                  <a:lnTo>
                    <a:pt x="490" y="153"/>
                  </a:lnTo>
                  <a:lnTo>
                    <a:pt x="501" y="154"/>
                  </a:lnTo>
                  <a:lnTo>
                    <a:pt x="509" y="158"/>
                  </a:lnTo>
                  <a:lnTo>
                    <a:pt x="511" y="163"/>
                  </a:lnTo>
                  <a:lnTo>
                    <a:pt x="508" y="169"/>
                  </a:lnTo>
                  <a:lnTo>
                    <a:pt x="501" y="173"/>
                  </a:lnTo>
                  <a:lnTo>
                    <a:pt x="496" y="176"/>
                  </a:lnTo>
                  <a:lnTo>
                    <a:pt x="496" y="180"/>
                  </a:lnTo>
                  <a:lnTo>
                    <a:pt x="501" y="183"/>
                  </a:lnTo>
                  <a:lnTo>
                    <a:pt x="505" y="186"/>
                  </a:lnTo>
                  <a:lnTo>
                    <a:pt x="510" y="191"/>
                  </a:lnTo>
                  <a:lnTo>
                    <a:pt x="511" y="196"/>
                  </a:lnTo>
                  <a:lnTo>
                    <a:pt x="511" y="200"/>
                  </a:lnTo>
                  <a:lnTo>
                    <a:pt x="509" y="204"/>
                  </a:lnTo>
                  <a:lnTo>
                    <a:pt x="505" y="207"/>
                  </a:lnTo>
                  <a:lnTo>
                    <a:pt x="501" y="209"/>
                  </a:lnTo>
                  <a:lnTo>
                    <a:pt x="497" y="212"/>
                  </a:lnTo>
                  <a:lnTo>
                    <a:pt x="497" y="214"/>
                  </a:lnTo>
                  <a:lnTo>
                    <a:pt x="499" y="219"/>
                  </a:lnTo>
                  <a:lnTo>
                    <a:pt x="505" y="223"/>
                  </a:lnTo>
                  <a:lnTo>
                    <a:pt x="511" y="228"/>
                  </a:lnTo>
                  <a:lnTo>
                    <a:pt x="514" y="234"/>
                  </a:lnTo>
                  <a:lnTo>
                    <a:pt x="514" y="239"/>
                  </a:lnTo>
                  <a:lnTo>
                    <a:pt x="511" y="244"/>
                  </a:lnTo>
                  <a:lnTo>
                    <a:pt x="506" y="248"/>
                  </a:lnTo>
                  <a:lnTo>
                    <a:pt x="503" y="249"/>
                  </a:lnTo>
                  <a:lnTo>
                    <a:pt x="501" y="249"/>
                  </a:lnTo>
                  <a:lnTo>
                    <a:pt x="495" y="245"/>
                  </a:lnTo>
                  <a:lnTo>
                    <a:pt x="487" y="242"/>
                  </a:lnTo>
                  <a:lnTo>
                    <a:pt x="480" y="238"/>
                  </a:lnTo>
                  <a:lnTo>
                    <a:pt x="474" y="235"/>
                  </a:lnTo>
                  <a:lnTo>
                    <a:pt x="468" y="231"/>
                  </a:lnTo>
                  <a:lnTo>
                    <a:pt x="465" y="229"/>
                  </a:lnTo>
                  <a:lnTo>
                    <a:pt x="460" y="228"/>
                  </a:lnTo>
                  <a:lnTo>
                    <a:pt x="456" y="226"/>
                  </a:lnTo>
                  <a:lnTo>
                    <a:pt x="449" y="223"/>
                  </a:lnTo>
                  <a:lnTo>
                    <a:pt x="440" y="220"/>
                  </a:lnTo>
                  <a:lnTo>
                    <a:pt x="432" y="219"/>
                  </a:lnTo>
                  <a:lnTo>
                    <a:pt x="425" y="220"/>
                  </a:lnTo>
                  <a:lnTo>
                    <a:pt x="421" y="224"/>
                  </a:lnTo>
                  <a:lnTo>
                    <a:pt x="421" y="230"/>
                  </a:lnTo>
                  <a:lnTo>
                    <a:pt x="423" y="236"/>
                  </a:lnTo>
                  <a:lnTo>
                    <a:pt x="428" y="243"/>
                  </a:lnTo>
                  <a:lnTo>
                    <a:pt x="435" y="251"/>
                  </a:lnTo>
                  <a:lnTo>
                    <a:pt x="440" y="254"/>
                  </a:lnTo>
                  <a:lnTo>
                    <a:pt x="443" y="259"/>
                  </a:lnTo>
                  <a:lnTo>
                    <a:pt x="449" y="262"/>
                  </a:lnTo>
                  <a:lnTo>
                    <a:pt x="453" y="265"/>
                  </a:lnTo>
                  <a:lnTo>
                    <a:pt x="459" y="268"/>
                  </a:lnTo>
                  <a:lnTo>
                    <a:pt x="465" y="271"/>
                  </a:lnTo>
                  <a:lnTo>
                    <a:pt x="471" y="272"/>
                  </a:lnTo>
                  <a:lnTo>
                    <a:pt x="476" y="273"/>
                  </a:lnTo>
                  <a:lnTo>
                    <a:pt x="487" y="275"/>
                  </a:lnTo>
                  <a:lnTo>
                    <a:pt x="495" y="277"/>
                  </a:lnTo>
                  <a:lnTo>
                    <a:pt x="501" y="281"/>
                  </a:lnTo>
                  <a:lnTo>
                    <a:pt x="505" y="286"/>
                  </a:lnTo>
                  <a:lnTo>
                    <a:pt x="512" y="289"/>
                  </a:lnTo>
                  <a:lnTo>
                    <a:pt x="520" y="291"/>
                  </a:lnTo>
                  <a:lnTo>
                    <a:pt x="528" y="294"/>
                  </a:lnTo>
                  <a:lnTo>
                    <a:pt x="533" y="301"/>
                  </a:lnTo>
                  <a:lnTo>
                    <a:pt x="534" y="307"/>
                  </a:lnTo>
                  <a:lnTo>
                    <a:pt x="533" y="311"/>
                  </a:lnTo>
                  <a:lnTo>
                    <a:pt x="533" y="315"/>
                  </a:lnTo>
                  <a:lnTo>
                    <a:pt x="536" y="324"/>
                  </a:lnTo>
                  <a:lnTo>
                    <a:pt x="541" y="332"/>
                  </a:lnTo>
                  <a:lnTo>
                    <a:pt x="543" y="337"/>
                  </a:lnTo>
                  <a:lnTo>
                    <a:pt x="544" y="342"/>
                  </a:lnTo>
                  <a:lnTo>
                    <a:pt x="548" y="345"/>
                  </a:lnTo>
                  <a:lnTo>
                    <a:pt x="552" y="350"/>
                  </a:lnTo>
                  <a:lnTo>
                    <a:pt x="556" y="354"/>
                  </a:lnTo>
                  <a:lnTo>
                    <a:pt x="555" y="357"/>
                  </a:lnTo>
                  <a:lnTo>
                    <a:pt x="549" y="356"/>
                  </a:lnTo>
                  <a:lnTo>
                    <a:pt x="544" y="352"/>
                  </a:lnTo>
                  <a:lnTo>
                    <a:pt x="541" y="349"/>
                  </a:lnTo>
                  <a:lnTo>
                    <a:pt x="535" y="345"/>
                  </a:lnTo>
                  <a:lnTo>
                    <a:pt x="525" y="345"/>
                  </a:lnTo>
                  <a:lnTo>
                    <a:pt x="513" y="348"/>
                  </a:lnTo>
                  <a:lnTo>
                    <a:pt x="505" y="349"/>
                  </a:lnTo>
                  <a:lnTo>
                    <a:pt x="499" y="349"/>
                  </a:lnTo>
                  <a:lnTo>
                    <a:pt x="493" y="345"/>
                  </a:lnTo>
                  <a:lnTo>
                    <a:pt x="488" y="343"/>
                  </a:lnTo>
                  <a:lnTo>
                    <a:pt x="483" y="342"/>
                  </a:lnTo>
                  <a:lnTo>
                    <a:pt x="478" y="340"/>
                  </a:lnTo>
                  <a:lnTo>
                    <a:pt x="472" y="339"/>
                  </a:lnTo>
                  <a:lnTo>
                    <a:pt x="466" y="337"/>
                  </a:lnTo>
                  <a:lnTo>
                    <a:pt x="461" y="337"/>
                  </a:lnTo>
                  <a:lnTo>
                    <a:pt x="457" y="337"/>
                  </a:lnTo>
                  <a:lnTo>
                    <a:pt x="453" y="337"/>
                  </a:lnTo>
                  <a:lnTo>
                    <a:pt x="451" y="340"/>
                  </a:lnTo>
                  <a:lnTo>
                    <a:pt x="455" y="343"/>
                  </a:lnTo>
                  <a:lnTo>
                    <a:pt x="463" y="347"/>
                  </a:lnTo>
                  <a:lnTo>
                    <a:pt x="476" y="352"/>
                  </a:lnTo>
                  <a:lnTo>
                    <a:pt x="485" y="355"/>
                  </a:lnTo>
                  <a:lnTo>
                    <a:pt x="490" y="357"/>
                  </a:lnTo>
                  <a:lnTo>
                    <a:pt x="496" y="358"/>
                  </a:lnTo>
                  <a:lnTo>
                    <a:pt x="499" y="358"/>
                  </a:lnTo>
                  <a:lnTo>
                    <a:pt x="503" y="359"/>
                  </a:lnTo>
                  <a:lnTo>
                    <a:pt x="506" y="360"/>
                  </a:lnTo>
                  <a:lnTo>
                    <a:pt x="509" y="362"/>
                  </a:lnTo>
                  <a:lnTo>
                    <a:pt x="511" y="364"/>
                  </a:lnTo>
                  <a:lnTo>
                    <a:pt x="517" y="367"/>
                  </a:lnTo>
                  <a:lnTo>
                    <a:pt x="525" y="371"/>
                  </a:lnTo>
                  <a:lnTo>
                    <a:pt x="533" y="374"/>
                  </a:lnTo>
                  <a:lnTo>
                    <a:pt x="539" y="37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8" name="Freeform 432"/>
            <p:cNvSpPr>
              <a:spLocks/>
            </p:cNvSpPr>
            <p:nvPr/>
          </p:nvSpPr>
          <p:spPr bwMode="auto">
            <a:xfrm>
              <a:off x="1940234" y="1966086"/>
              <a:ext cx="146169" cy="138536"/>
            </a:xfrm>
            <a:custGeom>
              <a:avLst/>
              <a:gdLst>
                <a:gd name="T0" fmla="*/ 2147483646 w 148"/>
                <a:gd name="T1" fmla="*/ 2147483646 h 146"/>
                <a:gd name="T2" fmla="*/ 2147483646 w 148"/>
                <a:gd name="T3" fmla="*/ 2147483646 h 146"/>
                <a:gd name="T4" fmla="*/ 2147483646 w 148"/>
                <a:gd name="T5" fmla="*/ 2147483646 h 146"/>
                <a:gd name="T6" fmla="*/ 2147483646 w 148"/>
                <a:gd name="T7" fmla="*/ 2147483646 h 146"/>
                <a:gd name="T8" fmla="*/ 2147483646 w 148"/>
                <a:gd name="T9" fmla="*/ 2147483646 h 146"/>
                <a:gd name="T10" fmla="*/ 2147483646 w 148"/>
                <a:gd name="T11" fmla="*/ 2147483646 h 146"/>
                <a:gd name="T12" fmla="*/ 2147483646 w 148"/>
                <a:gd name="T13" fmla="*/ 2147483646 h 146"/>
                <a:gd name="T14" fmla="*/ 2147483646 w 148"/>
                <a:gd name="T15" fmla="*/ 2147483646 h 146"/>
                <a:gd name="T16" fmla="*/ 2147483646 w 148"/>
                <a:gd name="T17" fmla="*/ 2147483646 h 146"/>
                <a:gd name="T18" fmla="*/ 2147483646 w 148"/>
                <a:gd name="T19" fmla="*/ 0 h 146"/>
                <a:gd name="T20" fmla="*/ 2147483646 w 148"/>
                <a:gd name="T21" fmla="*/ 2147483646 h 146"/>
                <a:gd name="T22" fmla="*/ 2147483646 w 148"/>
                <a:gd name="T23" fmla="*/ 2147483646 h 146"/>
                <a:gd name="T24" fmla="*/ 2147483646 w 148"/>
                <a:gd name="T25" fmla="*/ 2147483646 h 146"/>
                <a:gd name="T26" fmla="*/ 2147483646 w 148"/>
                <a:gd name="T27" fmla="*/ 2147483646 h 146"/>
                <a:gd name="T28" fmla="*/ 2147483646 w 148"/>
                <a:gd name="T29" fmla="*/ 2147483646 h 146"/>
                <a:gd name="T30" fmla="*/ 2147483646 w 148"/>
                <a:gd name="T31" fmla="*/ 2147483646 h 146"/>
                <a:gd name="T32" fmla="*/ 2147483646 w 148"/>
                <a:gd name="T33" fmla="*/ 2147483646 h 146"/>
                <a:gd name="T34" fmla="*/ 2147483646 w 148"/>
                <a:gd name="T35" fmla="*/ 2147483646 h 146"/>
                <a:gd name="T36" fmla="*/ 2147483646 w 148"/>
                <a:gd name="T37" fmla="*/ 2147483646 h 146"/>
                <a:gd name="T38" fmla="*/ 2147483646 w 148"/>
                <a:gd name="T39" fmla="*/ 2147483646 h 146"/>
                <a:gd name="T40" fmla="*/ 2147483646 w 148"/>
                <a:gd name="T41" fmla="*/ 2147483646 h 146"/>
                <a:gd name="T42" fmla="*/ 2147483646 w 148"/>
                <a:gd name="T43" fmla="*/ 2147483646 h 146"/>
                <a:gd name="T44" fmla="*/ 2147483646 w 148"/>
                <a:gd name="T45" fmla="*/ 2147483646 h 146"/>
                <a:gd name="T46" fmla="*/ 2147483646 w 148"/>
                <a:gd name="T47" fmla="*/ 2147483646 h 146"/>
                <a:gd name="T48" fmla="*/ 2147483646 w 148"/>
                <a:gd name="T49" fmla="*/ 2147483646 h 146"/>
                <a:gd name="T50" fmla="*/ 2147483646 w 148"/>
                <a:gd name="T51" fmla="*/ 2147483646 h 146"/>
                <a:gd name="T52" fmla="*/ 2147483646 w 148"/>
                <a:gd name="T53" fmla="*/ 2147483646 h 146"/>
                <a:gd name="T54" fmla="*/ 2147483646 w 148"/>
                <a:gd name="T55" fmla="*/ 2147483646 h 146"/>
                <a:gd name="T56" fmla="*/ 2147483646 w 148"/>
                <a:gd name="T57" fmla="*/ 2147483646 h 146"/>
                <a:gd name="T58" fmla="*/ 2147483646 w 148"/>
                <a:gd name="T59" fmla="*/ 2147483646 h 146"/>
                <a:gd name="T60" fmla="*/ 2147483646 w 148"/>
                <a:gd name="T61" fmla="*/ 2147483646 h 146"/>
                <a:gd name="T62" fmla="*/ 2147483646 w 148"/>
                <a:gd name="T63" fmla="*/ 2147483646 h 1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8" h="146">
                  <a:moveTo>
                    <a:pt x="148" y="71"/>
                  </a:moveTo>
                  <a:lnTo>
                    <a:pt x="146" y="67"/>
                  </a:lnTo>
                  <a:lnTo>
                    <a:pt x="145" y="56"/>
                  </a:lnTo>
                  <a:lnTo>
                    <a:pt x="141" y="44"/>
                  </a:lnTo>
                  <a:lnTo>
                    <a:pt x="135" y="36"/>
                  </a:lnTo>
                  <a:lnTo>
                    <a:pt x="129" y="33"/>
                  </a:lnTo>
                  <a:lnTo>
                    <a:pt x="125" y="33"/>
                  </a:lnTo>
                  <a:lnTo>
                    <a:pt x="120" y="35"/>
                  </a:lnTo>
                  <a:lnTo>
                    <a:pt x="115" y="32"/>
                  </a:lnTo>
                  <a:lnTo>
                    <a:pt x="111" y="26"/>
                  </a:lnTo>
                  <a:lnTo>
                    <a:pt x="108" y="20"/>
                  </a:lnTo>
                  <a:lnTo>
                    <a:pt x="104" y="14"/>
                  </a:lnTo>
                  <a:lnTo>
                    <a:pt x="95" y="12"/>
                  </a:lnTo>
                  <a:lnTo>
                    <a:pt x="88" y="10"/>
                  </a:lnTo>
                  <a:lnTo>
                    <a:pt x="82" y="9"/>
                  </a:lnTo>
                  <a:lnTo>
                    <a:pt x="77" y="7"/>
                  </a:lnTo>
                  <a:lnTo>
                    <a:pt x="73" y="3"/>
                  </a:lnTo>
                  <a:lnTo>
                    <a:pt x="68" y="1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8"/>
                  </a:lnTo>
                  <a:lnTo>
                    <a:pt x="58" y="15"/>
                  </a:lnTo>
                  <a:lnTo>
                    <a:pt x="57" y="20"/>
                  </a:lnTo>
                  <a:lnTo>
                    <a:pt x="55" y="24"/>
                  </a:lnTo>
                  <a:lnTo>
                    <a:pt x="50" y="31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7" y="55"/>
                  </a:lnTo>
                  <a:lnTo>
                    <a:pt x="20" y="62"/>
                  </a:lnTo>
                  <a:lnTo>
                    <a:pt x="11" y="71"/>
                  </a:lnTo>
                  <a:lnTo>
                    <a:pt x="3" y="82"/>
                  </a:lnTo>
                  <a:lnTo>
                    <a:pt x="0" y="90"/>
                  </a:lnTo>
                  <a:lnTo>
                    <a:pt x="3" y="91"/>
                  </a:lnTo>
                  <a:lnTo>
                    <a:pt x="4" y="91"/>
                  </a:lnTo>
                  <a:lnTo>
                    <a:pt x="6" y="94"/>
                  </a:lnTo>
                  <a:lnTo>
                    <a:pt x="11" y="107"/>
                  </a:lnTo>
                  <a:lnTo>
                    <a:pt x="14" y="123"/>
                  </a:lnTo>
                  <a:lnTo>
                    <a:pt x="14" y="136"/>
                  </a:lnTo>
                  <a:lnTo>
                    <a:pt x="15" y="144"/>
                  </a:lnTo>
                  <a:lnTo>
                    <a:pt x="20" y="146"/>
                  </a:lnTo>
                  <a:lnTo>
                    <a:pt x="27" y="143"/>
                  </a:lnTo>
                  <a:lnTo>
                    <a:pt x="32" y="139"/>
                  </a:lnTo>
                  <a:lnTo>
                    <a:pt x="36" y="137"/>
                  </a:lnTo>
                  <a:lnTo>
                    <a:pt x="39" y="138"/>
                  </a:lnTo>
                  <a:lnTo>
                    <a:pt x="44" y="143"/>
                  </a:lnTo>
                  <a:lnTo>
                    <a:pt x="50" y="146"/>
                  </a:lnTo>
                  <a:lnTo>
                    <a:pt x="55" y="145"/>
                  </a:lnTo>
                  <a:lnTo>
                    <a:pt x="60" y="135"/>
                  </a:lnTo>
                  <a:lnTo>
                    <a:pt x="66" y="124"/>
                  </a:lnTo>
                  <a:lnTo>
                    <a:pt x="75" y="119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87" y="104"/>
                  </a:lnTo>
                  <a:lnTo>
                    <a:pt x="87" y="99"/>
                  </a:lnTo>
                  <a:lnTo>
                    <a:pt x="91" y="96"/>
                  </a:lnTo>
                  <a:lnTo>
                    <a:pt x="104" y="92"/>
                  </a:lnTo>
                  <a:lnTo>
                    <a:pt x="112" y="90"/>
                  </a:lnTo>
                  <a:lnTo>
                    <a:pt x="120" y="89"/>
                  </a:lnTo>
                  <a:lnTo>
                    <a:pt x="128" y="86"/>
                  </a:lnTo>
                  <a:lnTo>
                    <a:pt x="135" y="84"/>
                  </a:lnTo>
                  <a:lnTo>
                    <a:pt x="140" y="82"/>
                  </a:lnTo>
                  <a:lnTo>
                    <a:pt x="144" y="78"/>
                  </a:lnTo>
                  <a:lnTo>
                    <a:pt x="146" y="75"/>
                  </a:lnTo>
                  <a:lnTo>
                    <a:pt x="148" y="7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9" name="Freeform 433"/>
            <p:cNvSpPr>
              <a:spLocks/>
            </p:cNvSpPr>
            <p:nvPr/>
          </p:nvSpPr>
          <p:spPr bwMode="auto">
            <a:xfrm>
              <a:off x="2095173" y="1914888"/>
              <a:ext cx="133014" cy="88843"/>
            </a:xfrm>
            <a:custGeom>
              <a:avLst/>
              <a:gdLst>
                <a:gd name="T0" fmla="*/ 2147483646 w 133"/>
                <a:gd name="T1" fmla="*/ 2147483646 h 91"/>
                <a:gd name="T2" fmla="*/ 2147483646 w 133"/>
                <a:gd name="T3" fmla="*/ 2147483646 h 91"/>
                <a:gd name="T4" fmla="*/ 2147483646 w 133"/>
                <a:gd name="T5" fmla="*/ 2147483646 h 91"/>
                <a:gd name="T6" fmla="*/ 2147483646 w 133"/>
                <a:gd name="T7" fmla="*/ 2147483646 h 91"/>
                <a:gd name="T8" fmla="*/ 2147483646 w 133"/>
                <a:gd name="T9" fmla="*/ 2147483646 h 91"/>
                <a:gd name="T10" fmla="*/ 2147483646 w 133"/>
                <a:gd name="T11" fmla="*/ 2147483646 h 91"/>
                <a:gd name="T12" fmla="*/ 2147483646 w 133"/>
                <a:gd name="T13" fmla="*/ 2147483646 h 91"/>
                <a:gd name="T14" fmla="*/ 2147483646 w 133"/>
                <a:gd name="T15" fmla="*/ 2147483646 h 91"/>
                <a:gd name="T16" fmla="*/ 2147483646 w 133"/>
                <a:gd name="T17" fmla="*/ 2147483646 h 91"/>
                <a:gd name="T18" fmla="*/ 2147483646 w 133"/>
                <a:gd name="T19" fmla="*/ 2147483646 h 91"/>
                <a:gd name="T20" fmla="*/ 2147483646 w 133"/>
                <a:gd name="T21" fmla="*/ 2147483646 h 91"/>
                <a:gd name="T22" fmla="*/ 2147483646 w 133"/>
                <a:gd name="T23" fmla="*/ 2147483646 h 91"/>
                <a:gd name="T24" fmla="*/ 2147483646 w 133"/>
                <a:gd name="T25" fmla="*/ 2147483646 h 91"/>
                <a:gd name="T26" fmla="*/ 2147483646 w 133"/>
                <a:gd name="T27" fmla="*/ 2147483646 h 91"/>
                <a:gd name="T28" fmla="*/ 2147483646 w 133"/>
                <a:gd name="T29" fmla="*/ 2147483646 h 91"/>
                <a:gd name="T30" fmla="*/ 2147483646 w 133"/>
                <a:gd name="T31" fmla="*/ 2147483646 h 91"/>
                <a:gd name="T32" fmla="*/ 2147483646 w 133"/>
                <a:gd name="T33" fmla="*/ 2147483646 h 91"/>
                <a:gd name="T34" fmla="*/ 2147483646 w 133"/>
                <a:gd name="T35" fmla="*/ 2147483646 h 91"/>
                <a:gd name="T36" fmla="*/ 2147483646 w 133"/>
                <a:gd name="T37" fmla="*/ 2147483646 h 91"/>
                <a:gd name="T38" fmla="*/ 2147483646 w 133"/>
                <a:gd name="T39" fmla="*/ 2147483646 h 91"/>
                <a:gd name="T40" fmla="*/ 2147483646 w 133"/>
                <a:gd name="T41" fmla="*/ 2147483646 h 91"/>
                <a:gd name="T42" fmla="*/ 2147483646 w 133"/>
                <a:gd name="T43" fmla="*/ 2147483646 h 91"/>
                <a:gd name="T44" fmla="*/ 2147483646 w 133"/>
                <a:gd name="T45" fmla="*/ 2147483646 h 91"/>
                <a:gd name="T46" fmla="*/ 2147483646 w 133"/>
                <a:gd name="T47" fmla="*/ 2147483646 h 91"/>
                <a:gd name="T48" fmla="*/ 2147483646 w 133"/>
                <a:gd name="T49" fmla="*/ 2147483646 h 91"/>
                <a:gd name="T50" fmla="*/ 2147483646 w 133"/>
                <a:gd name="T51" fmla="*/ 2147483646 h 91"/>
                <a:gd name="T52" fmla="*/ 2147483646 w 133"/>
                <a:gd name="T53" fmla="*/ 2147483646 h 91"/>
                <a:gd name="T54" fmla="*/ 2147483646 w 133"/>
                <a:gd name="T55" fmla="*/ 2147483646 h 91"/>
                <a:gd name="T56" fmla="*/ 0 w 133"/>
                <a:gd name="T57" fmla="*/ 2147483646 h 91"/>
                <a:gd name="T58" fmla="*/ 2147483646 w 133"/>
                <a:gd name="T59" fmla="*/ 2147483646 h 91"/>
                <a:gd name="T60" fmla="*/ 2147483646 w 133"/>
                <a:gd name="T61" fmla="*/ 2147483646 h 91"/>
                <a:gd name="T62" fmla="*/ 2147483646 w 133"/>
                <a:gd name="T63" fmla="*/ 2147483646 h 91"/>
                <a:gd name="T64" fmla="*/ 2147483646 w 133"/>
                <a:gd name="T65" fmla="*/ 2147483646 h 91"/>
                <a:gd name="T66" fmla="*/ 2147483646 w 133"/>
                <a:gd name="T67" fmla="*/ 2147483646 h 91"/>
                <a:gd name="T68" fmla="*/ 2147483646 w 133"/>
                <a:gd name="T69" fmla="*/ 0 h 91"/>
                <a:gd name="T70" fmla="*/ 2147483646 w 133"/>
                <a:gd name="T71" fmla="*/ 2147483646 h 91"/>
                <a:gd name="T72" fmla="*/ 2147483646 w 133"/>
                <a:gd name="T73" fmla="*/ 2147483646 h 91"/>
                <a:gd name="T74" fmla="*/ 2147483646 w 133"/>
                <a:gd name="T75" fmla="*/ 2147483646 h 91"/>
                <a:gd name="T76" fmla="*/ 2147483646 w 133"/>
                <a:gd name="T77" fmla="*/ 2147483646 h 91"/>
                <a:gd name="T78" fmla="*/ 2147483646 w 133"/>
                <a:gd name="T79" fmla="*/ 2147483646 h 91"/>
                <a:gd name="T80" fmla="*/ 2147483646 w 133"/>
                <a:gd name="T81" fmla="*/ 2147483646 h 91"/>
                <a:gd name="T82" fmla="*/ 2147483646 w 133"/>
                <a:gd name="T83" fmla="*/ 2147483646 h 91"/>
                <a:gd name="T84" fmla="*/ 2147483646 w 133"/>
                <a:gd name="T85" fmla="*/ 2147483646 h 91"/>
                <a:gd name="T86" fmla="*/ 2147483646 w 133"/>
                <a:gd name="T87" fmla="*/ 2147483646 h 91"/>
                <a:gd name="T88" fmla="*/ 2147483646 w 133"/>
                <a:gd name="T89" fmla="*/ 2147483646 h 91"/>
                <a:gd name="T90" fmla="*/ 2147483646 w 133"/>
                <a:gd name="T91" fmla="*/ 2147483646 h 91"/>
                <a:gd name="T92" fmla="*/ 2147483646 w 133"/>
                <a:gd name="T93" fmla="*/ 2147483646 h 91"/>
                <a:gd name="T94" fmla="*/ 2147483646 w 133"/>
                <a:gd name="T95" fmla="*/ 2147483646 h 91"/>
                <a:gd name="T96" fmla="*/ 2147483646 w 133"/>
                <a:gd name="T97" fmla="*/ 2147483646 h 91"/>
                <a:gd name="T98" fmla="*/ 2147483646 w 133"/>
                <a:gd name="T99" fmla="*/ 2147483646 h 91"/>
                <a:gd name="T100" fmla="*/ 2147483646 w 133"/>
                <a:gd name="T101" fmla="*/ 2147483646 h 91"/>
                <a:gd name="T102" fmla="*/ 2147483646 w 133"/>
                <a:gd name="T103" fmla="*/ 2147483646 h 9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33" h="91">
                  <a:moveTo>
                    <a:pt x="104" y="0"/>
                  </a:moveTo>
                  <a:lnTo>
                    <a:pt x="104" y="4"/>
                  </a:lnTo>
                  <a:lnTo>
                    <a:pt x="103" y="13"/>
                  </a:lnTo>
                  <a:lnTo>
                    <a:pt x="103" y="23"/>
                  </a:lnTo>
                  <a:lnTo>
                    <a:pt x="102" y="30"/>
                  </a:lnTo>
                  <a:lnTo>
                    <a:pt x="101" y="35"/>
                  </a:lnTo>
                  <a:lnTo>
                    <a:pt x="101" y="39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11" y="43"/>
                  </a:lnTo>
                  <a:lnTo>
                    <a:pt x="113" y="37"/>
                  </a:lnTo>
                  <a:lnTo>
                    <a:pt x="115" y="34"/>
                  </a:lnTo>
                  <a:lnTo>
                    <a:pt x="121" y="36"/>
                  </a:lnTo>
                  <a:lnTo>
                    <a:pt x="128" y="42"/>
                  </a:lnTo>
                  <a:lnTo>
                    <a:pt x="132" y="45"/>
                  </a:lnTo>
                  <a:lnTo>
                    <a:pt x="133" y="49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1" y="66"/>
                  </a:lnTo>
                  <a:lnTo>
                    <a:pt x="128" y="72"/>
                  </a:lnTo>
                  <a:lnTo>
                    <a:pt x="123" y="78"/>
                  </a:lnTo>
                  <a:lnTo>
                    <a:pt x="121" y="82"/>
                  </a:lnTo>
                  <a:lnTo>
                    <a:pt x="116" y="84"/>
                  </a:lnTo>
                  <a:lnTo>
                    <a:pt x="107" y="83"/>
                  </a:lnTo>
                  <a:lnTo>
                    <a:pt x="96" y="81"/>
                  </a:lnTo>
                  <a:lnTo>
                    <a:pt x="88" y="78"/>
                  </a:lnTo>
                  <a:lnTo>
                    <a:pt x="83" y="77"/>
                  </a:lnTo>
                  <a:lnTo>
                    <a:pt x="79" y="80"/>
                  </a:lnTo>
                  <a:lnTo>
                    <a:pt x="76" y="83"/>
                  </a:lnTo>
                  <a:lnTo>
                    <a:pt x="72" y="85"/>
                  </a:lnTo>
                  <a:lnTo>
                    <a:pt x="68" y="88"/>
                  </a:lnTo>
                  <a:lnTo>
                    <a:pt x="61" y="90"/>
                  </a:lnTo>
                  <a:lnTo>
                    <a:pt x="54" y="91"/>
                  </a:lnTo>
                  <a:lnTo>
                    <a:pt x="49" y="91"/>
                  </a:lnTo>
                  <a:lnTo>
                    <a:pt x="45" y="91"/>
                  </a:lnTo>
                  <a:lnTo>
                    <a:pt x="39" y="91"/>
                  </a:lnTo>
                  <a:lnTo>
                    <a:pt x="32" y="89"/>
                  </a:lnTo>
                  <a:lnTo>
                    <a:pt x="24" y="85"/>
                  </a:lnTo>
                  <a:lnTo>
                    <a:pt x="18" y="82"/>
                  </a:lnTo>
                  <a:lnTo>
                    <a:pt x="19" y="78"/>
                  </a:lnTo>
                  <a:lnTo>
                    <a:pt x="25" y="77"/>
                  </a:lnTo>
                  <a:lnTo>
                    <a:pt x="32" y="77"/>
                  </a:lnTo>
                  <a:lnTo>
                    <a:pt x="38" y="77"/>
                  </a:lnTo>
                  <a:lnTo>
                    <a:pt x="43" y="75"/>
                  </a:lnTo>
                  <a:lnTo>
                    <a:pt x="48" y="70"/>
                  </a:lnTo>
                  <a:lnTo>
                    <a:pt x="49" y="6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5" y="65"/>
                  </a:lnTo>
                  <a:lnTo>
                    <a:pt x="32" y="67"/>
                  </a:lnTo>
                  <a:lnTo>
                    <a:pt x="27" y="67"/>
                  </a:lnTo>
                  <a:lnTo>
                    <a:pt x="20" y="62"/>
                  </a:lnTo>
                  <a:lnTo>
                    <a:pt x="14" y="57"/>
                  </a:lnTo>
                  <a:lnTo>
                    <a:pt x="8" y="53"/>
                  </a:lnTo>
                  <a:lnTo>
                    <a:pt x="4" y="51"/>
                  </a:lnTo>
                  <a:lnTo>
                    <a:pt x="2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2" y="35"/>
                  </a:lnTo>
                  <a:lnTo>
                    <a:pt x="8" y="30"/>
                  </a:lnTo>
                  <a:lnTo>
                    <a:pt x="12" y="25"/>
                  </a:lnTo>
                  <a:lnTo>
                    <a:pt x="14" y="22"/>
                  </a:lnTo>
                  <a:lnTo>
                    <a:pt x="15" y="20"/>
                  </a:lnTo>
                  <a:lnTo>
                    <a:pt x="18" y="14"/>
                  </a:lnTo>
                  <a:lnTo>
                    <a:pt x="23" y="7"/>
                  </a:lnTo>
                  <a:lnTo>
                    <a:pt x="25" y="4"/>
                  </a:lnTo>
                  <a:lnTo>
                    <a:pt x="28" y="1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5" y="2"/>
                  </a:lnTo>
                  <a:lnTo>
                    <a:pt x="46" y="5"/>
                  </a:lnTo>
                  <a:lnTo>
                    <a:pt x="45" y="8"/>
                  </a:lnTo>
                  <a:lnTo>
                    <a:pt x="46" y="13"/>
                  </a:lnTo>
                  <a:lnTo>
                    <a:pt x="50" y="15"/>
                  </a:lnTo>
                  <a:lnTo>
                    <a:pt x="55" y="19"/>
                  </a:lnTo>
                  <a:lnTo>
                    <a:pt x="56" y="23"/>
                  </a:lnTo>
                  <a:lnTo>
                    <a:pt x="56" y="28"/>
                  </a:lnTo>
                  <a:lnTo>
                    <a:pt x="61" y="31"/>
                  </a:lnTo>
                  <a:lnTo>
                    <a:pt x="65" y="35"/>
                  </a:lnTo>
                  <a:lnTo>
                    <a:pt x="68" y="39"/>
                  </a:lnTo>
                  <a:lnTo>
                    <a:pt x="68" y="44"/>
                  </a:lnTo>
                  <a:lnTo>
                    <a:pt x="68" y="47"/>
                  </a:lnTo>
                  <a:lnTo>
                    <a:pt x="70" y="50"/>
                  </a:lnTo>
                  <a:lnTo>
                    <a:pt x="75" y="52"/>
                  </a:lnTo>
                  <a:lnTo>
                    <a:pt x="80" y="55"/>
                  </a:lnTo>
                  <a:lnTo>
                    <a:pt x="86" y="59"/>
                  </a:lnTo>
                  <a:lnTo>
                    <a:pt x="90" y="59"/>
                  </a:lnTo>
                  <a:lnTo>
                    <a:pt x="91" y="54"/>
                  </a:lnTo>
                  <a:lnTo>
                    <a:pt x="91" y="47"/>
                  </a:lnTo>
                  <a:lnTo>
                    <a:pt x="91" y="42"/>
                  </a:lnTo>
                  <a:lnTo>
                    <a:pt x="91" y="37"/>
                  </a:lnTo>
                  <a:lnTo>
                    <a:pt x="91" y="32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5" y="29"/>
                  </a:lnTo>
                  <a:lnTo>
                    <a:pt x="84" y="24"/>
                  </a:lnTo>
                  <a:lnTo>
                    <a:pt x="84" y="19"/>
                  </a:lnTo>
                  <a:lnTo>
                    <a:pt x="84" y="14"/>
                  </a:lnTo>
                  <a:lnTo>
                    <a:pt x="85" y="11"/>
                  </a:lnTo>
                  <a:lnTo>
                    <a:pt x="88" y="8"/>
                  </a:lnTo>
                  <a:lnTo>
                    <a:pt x="94" y="6"/>
                  </a:lnTo>
                  <a:lnTo>
                    <a:pt x="99" y="4"/>
                  </a:lnTo>
                  <a:lnTo>
                    <a:pt x="103" y="1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0" name="Freeform 434"/>
            <p:cNvSpPr>
              <a:spLocks/>
            </p:cNvSpPr>
            <p:nvPr/>
          </p:nvSpPr>
          <p:spPr bwMode="auto">
            <a:xfrm>
              <a:off x="2039629" y="1868207"/>
              <a:ext cx="100857" cy="58728"/>
            </a:xfrm>
            <a:custGeom>
              <a:avLst/>
              <a:gdLst>
                <a:gd name="T0" fmla="*/ 2147483646 w 102"/>
                <a:gd name="T1" fmla="*/ 2147483646 h 60"/>
                <a:gd name="T2" fmla="*/ 2147483646 w 102"/>
                <a:gd name="T3" fmla="*/ 2147483646 h 60"/>
                <a:gd name="T4" fmla="*/ 2147483646 w 102"/>
                <a:gd name="T5" fmla="*/ 2147483646 h 60"/>
                <a:gd name="T6" fmla="*/ 2147483646 w 102"/>
                <a:gd name="T7" fmla="*/ 2147483646 h 60"/>
                <a:gd name="T8" fmla="*/ 2147483646 w 102"/>
                <a:gd name="T9" fmla="*/ 2147483646 h 60"/>
                <a:gd name="T10" fmla="*/ 2147483646 w 102"/>
                <a:gd name="T11" fmla="*/ 2147483646 h 60"/>
                <a:gd name="T12" fmla="*/ 2147483646 w 102"/>
                <a:gd name="T13" fmla="*/ 2147483646 h 60"/>
                <a:gd name="T14" fmla="*/ 2147483646 w 102"/>
                <a:gd name="T15" fmla="*/ 2147483646 h 60"/>
                <a:gd name="T16" fmla="*/ 2147483646 w 102"/>
                <a:gd name="T17" fmla="*/ 2147483646 h 60"/>
                <a:gd name="T18" fmla="*/ 2147483646 w 102"/>
                <a:gd name="T19" fmla="*/ 2147483646 h 60"/>
                <a:gd name="T20" fmla="*/ 2147483646 w 102"/>
                <a:gd name="T21" fmla="*/ 2147483646 h 60"/>
                <a:gd name="T22" fmla="*/ 2147483646 w 102"/>
                <a:gd name="T23" fmla="*/ 2147483646 h 60"/>
                <a:gd name="T24" fmla="*/ 2147483646 w 102"/>
                <a:gd name="T25" fmla="*/ 2147483646 h 60"/>
                <a:gd name="T26" fmla="*/ 2147483646 w 102"/>
                <a:gd name="T27" fmla="*/ 2147483646 h 60"/>
                <a:gd name="T28" fmla="*/ 2147483646 w 102"/>
                <a:gd name="T29" fmla="*/ 2147483646 h 60"/>
                <a:gd name="T30" fmla="*/ 2147483646 w 102"/>
                <a:gd name="T31" fmla="*/ 2147483646 h 60"/>
                <a:gd name="T32" fmla="*/ 2147483646 w 102"/>
                <a:gd name="T33" fmla="*/ 2147483646 h 60"/>
                <a:gd name="T34" fmla="*/ 2147483646 w 102"/>
                <a:gd name="T35" fmla="*/ 2147483646 h 60"/>
                <a:gd name="T36" fmla="*/ 2147483646 w 102"/>
                <a:gd name="T37" fmla="*/ 2147483646 h 60"/>
                <a:gd name="T38" fmla="*/ 2147483646 w 102"/>
                <a:gd name="T39" fmla="*/ 2147483646 h 60"/>
                <a:gd name="T40" fmla="*/ 2147483646 w 102"/>
                <a:gd name="T41" fmla="*/ 2147483646 h 60"/>
                <a:gd name="T42" fmla="*/ 2147483646 w 102"/>
                <a:gd name="T43" fmla="*/ 2147483646 h 60"/>
                <a:gd name="T44" fmla="*/ 2147483646 w 102"/>
                <a:gd name="T45" fmla="*/ 2147483646 h 60"/>
                <a:gd name="T46" fmla="*/ 0 w 102"/>
                <a:gd name="T47" fmla="*/ 2147483646 h 60"/>
                <a:gd name="T48" fmla="*/ 2147483646 w 102"/>
                <a:gd name="T49" fmla="*/ 2147483646 h 60"/>
                <a:gd name="T50" fmla="*/ 2147483646 w 102"/>
                <a:gd name="T51" fmla="*/ 2147483646 h 60"/>
                <a:gd name="T52" fmla="*/ 2147483646 w 102"/>
                <a:gd name="T53" fmla="*/ 2147483646 h 60"/>
                <a:gd name="T54" fmla="*/ 2147483646 w 102"/>
                <a:gd name="T55" fmla="*/ 2147483646 h 60"/>
                <a:gd name="T56" fmla="*/ 2147483646 w 102"/>
                <a:gd name="T57" fmla="*/ 2147483646 h 60"/>
                <a:gd name="T58" fmla="*/ 2147483646 w 102"/>
                <a:gd name="T59" fmla="*/ 2147483646 h 60"/>
                <a:gd name="T60" fmla="*/ 2147483646 w 102"/>
                <a:gd name="T61" fmla="*/ 2147483646 h 60"/>
                <a:gd name="T62" fmla="*/ 2147483646 w 102"/>
                <a:gd name="T63" fmla="*/ 2147483646 h 60"/>
                <a:gd name="T64" fmla="*/ 2147483646 w 102"/>
                <a:gd name="T65" fmla="*/ 0 h 60"/>
                <a:gd name="T66" fmla="*/ 2147483646 w 102"/>
                <a:gd name="T67" fmla="*/ 0 h 60"/>
                <a:gd name="T68" fmla="*/ 2147483646 w 102"/>
                <a:gd name="T69" fmla="*/ 0 h 60"/>
                <a:gd name="T70" fmla="*/ 2147483646 w 102"/>
                <a:gd name="T71" fmla="*/ 0 h 60"/>
                <a:gd name="T72" fmla="*/ 2147483646 w 102"/>
                <a:gd name="T73" fmla="*/ 0 h 60"/>
                <a:gd name="T74" fmla="*/ 2147483646 w 102"/>
                <a:gd name="T75" fmla="*/ 0 h 60"/>
                <a:gd name="T76" fmla="*/ 2147483646 w 102"/>
                <a:gd name="T77" fmla="*/ 2147483646 h 60"/>
                <a:gd name="T78" fmla="*/ 2147483646 w 102"/>
                <a:gd name="T79" fmla="*/ 2147483646 h 60"/>
                <a:gd name="T80" fmla="*/ 2147483646 w 102"/>
                <a:gd name="T81" fmla="*/ 2147483646 h 60"/>
                <a:gd name="T82" fmla="*/ 2147483646 w 102"/>
                <a:gd name="T83" fmla="*/ 2147483646 h 60"/>
                <a:gd name="T84" fmla="*/ 2147483646 w 102"/>
                <a:gd name="T85" fmla="*/ 2147483646 h 60"/>
                <a:gd name="T86" fmla="*/ 2147483646 w 102"/>
                <a:gd name="T87" fmla="*/ 2147483646 h 60"/>
                <a:gd name="T88" fmla="*/ 2147483646 w 102"/>
                <a:gd name="T89" fmla="*/ 2147483646 h 60"/>
                <a:gd name="T90" fmla="*/ 2147483646 w 102"/>
                <a:gd name="T91" fmla="*/ 2147483646 h 60"/>
                <a:gd name="T92" fmla="*/ 2147483646 w 102"/>
                <a:gd name="T93" fmla="*/ 2147483646 h 60"/>
                <a:gd name="T94" fmla="*/ 2147483646 w 102"/>
                <a:gd name="T95" fmla="*/ 2147483646 h 60"/>
                <a:gd name="T96" fmla="*/ 2147483646 w 102"/>
                <a:gd name="T97" fmla="*/ 2147483646 h 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02" h="60">
                  <a:moveTo>
                    <a:pt x="76" y="40"/>
                  </a:moveTo>
                  <a:lnTo>
                    <a:pt x="75" y="41"/>
                  </a:lnTo>
                  <a:lnTo>
                    <a:pt x="72" y="45"/>
                  </a:lnTo>
                  <a:lnTo>
                    <a:pt x="68" y="46"/>
                  </a:lnTo>
                  <a:lnTo>
                    <a:pt x="66" y="42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8" y="27"/>
                  </a:lnTo>
                  <a:lnTo>
                    <a:pt x="56" y="31"/>
                  </a:lnTo>
                  <a:lnTo>
                    <a:pt x="55" y="38"/>
                  </a:lnTo>
                  <a:lnTo>
                    <a:pt x="55" y="44"/>
                  </a:lnTo>
                  <a:lnTo>
                    <a:pt x="53" y="47"/>
                  </a:lnTo>
                  <a:lnTo>
                    <a:pt x="48" y="47"/>
                  </a:lnTo>
                  <a:lnTo>
                    <a:pt x="42" y="47"/>
                  </a:lnTo>
                  <a:lnTo>
                    <a:pt x="38" y="52"/>
                  </a:lnTo>
                  <a:lnTo>
                    <a:pt x="38" y="57"/>
                  </a:lnTo>
                  <a:lnTo>
                    <a:pt x="38" y="60"/>
                  </a:lnTo>
                  <a:lnTo>
                    <a:pt x="37" y="57"/>
                  </a:lnTo>
                  <a:lnTo>
                    <a:pt x="33" y="54"/>
                  </a:lnTo>
                  <a:lnTo>
                    <a:pt x="27" y="50"/>
                  </a:lnTo>
                  <a:lnTo>
                    <a:pt x="22" y="48"/>
                  </a:lnTo>
                  <a:lnTo>
                    <a:pt x="15" y="48"/>
                  </a:lnTo>
                  <a:lnTo>
                    <a:pt x="6" y="48"/>
                  </a:lnTo>
                  <a:lnTo>
                    <a:pt x="0" y="46"/>
                  </a:lnTo>
                  <a:lnTo>
                    <a:pt x="4" y="40"/>
                  </a:lnTo>
                  <a:lnTo>
                    <a:pt x="11" y="34"/>
                  </a:lnTo>
                  <a:lnTo>
                    <a:pt x="17" y="30"/>
                  </a:lnTo>
                  <a:lnTo>
                    <a:pt x="23" y="25"/>
                  </a:lnTo>
                  <a:lnTo>
                    <a:pt x="35" y="19"/>
                  </a:lnTo>
                  <a:lnTo>
                    <a:pt x="46" y="12"/>
                  </a:lnTo>
                  <a:lnTo>
                    <a:pt x="55" y="7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7" y="0"/>
                  </a:lnTo>
                  <a:lnTo>
                    <a:pt x="93" y="0"/>
                  </a:lnTo>
                  <a:lnTo>
                    <a:pt x="98" y="2"/>
                  </a:lnTo>
                  <a:lnTo>
                    <a:pt x="102" y="6"/>
                  </a:lnTo>
                  <a:lnTo>
                    <a:pt x="99" y="10"/>
                  </a:lnTo>
                  <a:lnTo>
                    <a:pt x="95" y="15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1" y="24"/>
                  </a:lnTo>
                  <a:lnTo>
                    <a:pt x="89" y="31"/>
                  </a:lnTo>
                  <a:lnTo>
                    <a:pt x="86" y="35"/>
                  </a:lnTo>
                  <a:lnTo>
                    <a:pt x="81" y="39"/>
                  </a:lnTo>
                  <a:lnTo>
                    <a:pt x="76" y="4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1" name="Freeform 435"/>
            <p:cNvSpPr>
              <a:spLocks/>
            </p:cNvSpPr>
            <p:nvPr/>
          </p:nvSpPr>
          <p:spPr bwMode="auto">
            <a:xfrm>
              <a:off x="2238418" y="1926935"/>
              <a:ext cx="84778" cy="76796"/>
            </a:xfrm>
            <a:custGeom>
              <a:avLst/>
              <a:gdLst>
                <a:gd name="T0" fmla="*/ 2147483646 w 86"/>
                <a:gd name="T1" fmla="*/ 2147483646 h 80"/>
                <a:gd name="T2" fmla="*/ 2147483646 w 86"/>
                <a:gd name="T3" fmla="*/ 0 h 80"/>
                <a:gd name="T4" fmla="*/ 2147483646 w 86"/>
                <a:gd name="T5" fmla="*/ 2147483646 h 80"/>
                <a:gd name="T6" fmla="*/ 2147483646 w 86"/>
                <a:gd name="T7" fmla="*/ 2147483646 h 80"/>
                <a:gd name="T8" fmla="*/ 2147483646 w 86"/>
                <a:gd name="T9" fmla="*/ 2147483646 h 80"/>
                <a:gd name="T10" fmla="*/ 2147483646 w 86"/>
                <a:gd name="T11" fmla="*/ 2147483646 h 80"/>
                <a:gd name="T12" fmla="*/ 2147483646 w 86"/>
                <a:gd name="T13" fmla="*/ 2147483646 h 80"/>
                <a:gd name="T14" fmla="*/ 2147483646 w 86"/>
                <a:gd name="T15" fmla="*/ 2147483646 h 80"/>
                <a:gd name="T16" fmla="*/ 2147483646 w 86"/>
                <a:gd name="T17" fmla="*/ 2147483646 h 80"/>
                <a:gd name="T18" fmla="*/ 2147483646 w 86"/>
                <a:gd name="T19" fmla="*/ 2147483646 h 80"/>
                <a:gd name="T20" fmla="*/ 2147483646 w 86"/>
                <a:gd name="T21" fmla="*/ 2147483646 h 80"/>
                <a:gd name="T22" fmla="*/ 2147483646 w 86"/>
                <a:gd name="T23" fmla="*/ 2147483646 h 80"/>
                <a:gd name="T24" fmla="*/ 2147483646 w 86"/>
                <a:gd name="T25" fmla="*/ 2147483646 h 80"/>
                <a:gd name="T26" fmla="*/ 2147483646 w 86"/>
                <a:gd name="T27" fmla="*/ 2147483646 h 80"/>
                <a:gd name="T28" fmla="*/ 2147483646 w 86"/>
                <a:gd name="T29" fmla="*/ 2147483646 h 80"/>
                <a:gd name="T30" fmla="*/ 2147483646 w 86"/>
                <a:gd name="T31" fmla="*/ 2147483646 h 80"/>
                <a:gd name="T32" fmla="*/ 2147483646 w 86"/>
                <a:gd name="T33" fmla="*/ 2147483646 h 80"/>
                <a:gd name="T34" fmla="*/ 2147483646 w 86"/>
                <a:gd name="T35" fmla="*/ 2147483646 h 80"/>
                <a:gd name="T36" fmla="*/ 2147483646 w 86"/>
                <a:gd name="T37" fmla="*/ 2147483646 h 80"/>
                <a:gd name="T38" fmla="*/ 2147483646 w 86"/>
                <a:gd name="T39" fmla="*/ 2147483646 h 80"/>
                <a:gd name="T40" fmla="*/ 2147483646 w 86"/>
                <a:gd name="T41" fmla="*/ 2147483646 h 80"/>
                <a:gd name="T42" fmla="*/ 2147483646 w 86"/>
                <a:gd name="T43" fmla="*/ 2147483646 h 80"/>
                <a:gd name="T44" fmla="*/ 2147483646 w 86"/>
                <a:gd name="T45" fmla="*/ 2147483646 h 80"/>
                <a:gd name="T46" fmla="*/ 2147483646 w 86"/>
                <a:gd name="T47" fmla="*/ 2147483646 h 80"/>
                <a:gd name="T48" fmla="*/ 2147483646 w 86"/>
                <a:gd name="T49" fmla="*/ 2147483646 h 80"/>
                <a:gd name="T50" fmla="*/ 2147483646 w 86"/>
                <a:gd name="T51" fmla="*/ 2147483646 h 80"/>
                <a:gd name="T52" fmla="*/ 2147483646 w 86"/>
                <a:gd name="T53" fmla="*/ 2147483646 h 80"/>
                <a:gd name="T54" fmla="*/ 2147483646 w 86"/>
                <a:gd name="T55" fmla="*/ 2147483646 h 80"/>
                <a:gd name="T56" fmla="*/ 2147483646 w 86"/>
                <a:gd name="T57" fmla="*/ 2147483646 h 80"/>
                <a:gd name="T58" fmla="*/ 2147483646 w 86"/>
                <a:gd name="T59" fmla="*/ 2147483646 h 80"/>
                <a:gd name="T60" fmla="*/ 2147483646 w 86"/>
                <a:gd name="T61" fmla="*/ 2147483646 h 80"/>
                <a:gd name="T62" fmla="*/ 2147483646 w 86"/>
                <a:gd name="T63" fmla="*/ 2147483646 h 80"/>
                <a:gd name="T64" fmla="*/ 2147483646 w 86"/>
                <a:gd name="T65" fmla="*/ 2147483646 h 80"/>
                <a:gd name="T66" fmla="*/ 2147483646 w 86"/>
                <a:gd name="T67" fmla="*/ 2147483646 h 8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6" h="80">
                  <a:moveTo>
                    <a:pt x="20" y="16"/>
                  </a:moveTo>
                  <a:lnTo>
                    <a:pt x="17" y="12"/>
                  </a:lnTo>
                  <a:lnTo>
                    <a:pt x="10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" y="9"/>
                  </a:lnTo>
                  <a:lnTo>
                    <a:pt x="2" y="15"/>
                  </a:lnTo>
                  <a:lnTo>
                    <a:pt x="3" y="22"/>
                  </a:lnTo>
                  <a:lnTo>
                    <a:pt x="4" y="27"/>
                  </a:lnTo>
                  <a:lnTo>
                    <a:pt x="5" y="33"/>
                  </a:lnTo>
                  <a:lnTo>
                    <a:pt x="8" y="38"/>
                  </a:lnTo>
                  <a:lnTo>
                    <a:pt x="11" y="41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24" y="43"/>
                  </a:lnTo>
                  <a:lnTo>
                    <a:pt x="23" y="47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31" y="54"/>
                  </a:lnTo>
                  <a:lnTo>
                    <a:pt x="38" y="53"/>
                  </a:lnTo>
                  <a:lnTo>
                    <a:pt x="41" y="53"/>
                  </a:lnTo>
                  <a:lnTo>
                    <a:pt x="42" y="54"/>
                  </a:lnTo>
                  <a:lnTo>
                    <a:pt x="42" y="58"/>
                  </a:lnTo>
                  <a:lnTo>
                    <a:pt x="40" y="65"/>
                  </a:lnTo>
                  <a:lnTo>
                    <a:pt x="38" y="73"/>
                  </a:lnTo>
                  <a:lnTo>
                    <a:pt x="38" y="79"/>
                  </a:lnTo>
                  <a:lnTo>
                    <a:pt x="43" y="80"/>
                  </a:lnTo>
                  <a:lnTo>
                    <a:pt x="54" y="77"/>
                  </a:lnTo>
                  <a:lnTo>
                    <a:pt x="64" y="72"/>
                  </a:lnTo>
                  <a:lnTo>
                    <a:pt x="72" y="66"/>
                  </a:lnTo>
                  <a:lnTo>
                    <a:pt x="76" y="64"/>
                  </a:lnTo>
                  <a:lnTo>
                    <a:pt x="75" y="62"/>
                  </a:lnTo>
                  <a:lnTo>
                    <a:pt x="72" y="57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9" y="56"/>
                  </a:lnTo>
                  <a:lnTo>
                    <a:pt x="84" y="58"/>
                  </a:lnTo>
                  <a:lnTo>
                    <a:pt x="86" y="57"/>
                  </a:lnTo>
                  <a:lnTo>
                    <a:pt x="83" y="50"/>
                  </a:lnTo>
                  <a:lnTo>
                    <a:pt x="77" y="42"/>
                  </a:lnTo>
                  <a:lnTo>
                    <a:pt x="72" y="39"/>
                  </a:lnTo>
                  <a:lnTo>
                    <a:pt x="71" y="37"/>
                  </a:lnTo>
                  <a:lnTo>
                    <a:pt x="72" y="31"/>
                  </a:lnTo>
                  <a:lnTo>
                    <a:pt x="76" y="22"/>
                  </a:lnTo>
                  <a:lnTo>
                    <a:pt x="77" y="15"/>
                  </a:lnTo>
                  <a:lnTo>
                    <a:pt x="76" y="9"/>
                  </a:lnTo>
                  <a:lnTo>
                    <a:pt x="71" y="7"/>
                  </a:lnTo>
                  <a:lnTo>
                    <a:pt x="65" y="8"/>
                  </a:lnTo>
                  <a:lnTo>
                    <a:pt x="64" y="10"/>
                  </a:lnTo>
                  <a:lnTo>
                    <a:pt x="63" y="12"/>
                  </a:lnTo>
                  <a:lnTo>
                    <a:pt x="60" y="11"/>
                  </a:lnTo>
                  <a:lnTo>
                    <a:pt x="55" y="8"/>
                  </a:lnTo>
                  <a:lnTo>
                    <a:pt x="50" y="3"/>
                  </a:lnTo>
                  <a:lnTo>
                    <a:pt x="47" y="2"/>
                  </a:lnTo>
                  <a:lnTo>
                    <a:pt x="45" y="3"/>
                  </a:lnTo>
                  <a:lnTo>
                    <a:pt x="45" y="7"/>
                  </a:lnTo>
                  <a:lnTo>
                    <a:pt x="47" y="11"/>
                  </a:lnTo>
                  <a:lnTo>
                    <a:pt x="48" y="13"/>
                  </a:lnTo>
                  <a:lnTo>
                    <a:pt x="47" y="16"/>
                  </a:lnTo>
                  <a:lnTo>
                    <a:pt x="43" y="15"/>
                  </a:lnTo>
                  <a:lnTo>
                    <a:pt x="39" y="11"/>
                  </a:lnTo>
                  <a:lnTo>
                    <a:pt x="35" y="9"/>
                  </a:lnTo>
                  <a:lnTo>
                    <a:pt x="32" y="11"/>
                  </a:lnTo>
                  <a:lnTo>
                    <a:pt x="28" y="15"/>
                  </a:lnTo>
                  <a:lnTo>
                    <a:pt x="25" y="16"/>
                  </a:lnTo>
                  <a:lnTo>
                    <a:pt x="22" y="16"/>
                  </a:lnTo>
                  <a:lnTo>
                    <a:pt x="20" y="1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2" name="Freeform 436"/>
            <p:cNvSpPr>
              <a:spLocks/>
            </p:cNvSpPr>
            <p:nvPr/>
          </p:nvSpPr>
          <p:spPr bwMode="auto">
            <a:xfrm>
              <a:off x="2324658" y="1973615"/>
              <a:ext cx="33618" cy="43669"/>
            </a:xfrm>
            <a:custGeom>
              <a:avLst/>
              <a:gdLst>
                <a:gd name="T0" fmla="*/ 2147483646 w 34"/>
                <a:gd name="T1" fmla="*/ 2147483646 h 46"/>
                <a:gd name="T2" fmla="*/ 2147483646 w 34"/>
                <a:gd name="T3" fmla="*/ 2147483646 h 46"/>
                <a:gd name="T4" fmla="*/ 2147483646 w 34"/>
                <a:gd name="T5" fmla="*/ 2147483646 h 46"/>
                <a:gd name="T6" fmla="*/ 2147483646 w 34"/>
                <a:gd name="T7" fmla="*/ 2147483646 h 46"/>
                <a:gd name="T8" fmla="*/ 2147483646 w 34"/>
                <a:gd name="T9" fmla="*/ 2147483646 h 46"/>
                <a:gd name="T10" fmla="*/ 2147483646 w 34"/>
                <a:gd name="T11" fmla="*/ 2147483646 h 46"/>
                <a:gd name="T12" fmla="*/ 2147483646 w 34"/>
                <a:gd name="T13" fmla="*/ 2147483646 h 46"/>
                <a:gd name="T14" fmla="*/ 0 w 34"/>
                <a:gd name="T15" fmla="*/ 2147483646 h 46"/>
                <a:gd name="T16" fmla="*/ 2147483646 w 34"/>
                <a:gd name="T17" fmla="*/ 2147483646 h 46"/>
                <a:gd name="T18" fmla="*/ 2147483646 w 34"/>
                <a:gd name="T19" fmla="*/ 2147483646 h 46"/>
                <a:gd name="T20" fmla="*/ 2147483646 w 34"/>
                <a:gd name="T21" fmla="*/ 2147483646 h 46"/>
                <a:gd name="T22" fmla="*/ 2147483646 w 34"/>
                <a:gd name="T23" fmla="*/ 2147483646 h 46"/>
                <a:gd name="T24" fmla="*/ 2147483646 w 34"/>
                <a:gd name="T25" fmla="*/ 2147483646 h 46"/>
                <a:gd name="T26" fmla="*/ 2147483646 w 34"/>
                <a:gd name="T27" fmla="*/ 2147483646 h 46"/>
                <a:gd name="T28" fmla="*/ 2147483646 w 34"/>
                <a:gd name="T29" fmla="*/ 2147483646 h 46"/>
                <a:gd name="T30" fmla="*/ 2147483646 w 34"/>
                <a:gd name="T31" fmla="*/ 2147483646 h 46"/>
                <a:gd name="T32" fmla="*/ 2147483646 w 34"/>
                <a:gd name="T33" fmla="*/ 2147483646 h 46"/>
                <a:gd name="T34" fmla="*/ 2147483646 w 34"/>
                <a:gd name="T35" fmla="*/ 2147483646 h 46"/>
                <a:gd name="T36" fmla="*/ 2147483646 w 34"/>
                <a:gd name="T37" fmla="*/ 2147483646 h 46"/>
                <a:gd name="T38" fmla="*/ 2147483646 w 34"/>
                <a:gd name="T39" fmla="*/ 2147483646 h 46"/>
                <a:gd name="T40" fmla="*/ 2147483646 w 34"/>
                <a:gd name="T41" fmla="*/ 2147483646 h 46"/>
                <a:gd name="T42" fmla="*/ 2147483646 w 34"/>
                <a:gd name="T43" fmla="*/ 2147483646 h 46"/>
                <a:gd name="T44" fmla="*/ 2147483646 w 34"/>
                <a:gd name="T45" fmla="*/ 2147483646 h 46"/>
                <a:gd name="T46" fmla="*/ 2147483646 w 34"/>
                <a:gd name="T47" fmla="*/ 2147483646 h 46"/>
                <a:gd name="T48" fmla="*/ 2147483646 w 34"/>
                <a:gd name="T49" fmla="*/ 0 h 46"/>
                <a:gd name="T50" fmla="*/ 2147483646 w 34"/>
                <a:gd name="T51" fmla="*/ 0 h 46"/>
                <a:gd name="T52" fmla="*/ 2147483646 w 34"/>
                <a:gd name="T53" fmla="*/ 0 h 46"/>
                <a:gd name="T54" fmla="*/ 2147483646 w 34"/>
                <a:gd name="T55" fmla="*/ 2147483646 h 46"/>
                <a:gd name="T56" fmla="*/ 2147483646 w 34"/>
                <a:gd name="T57" fmla="*/ 2147483646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" h="46">
                  <a:moveTo>
                    <a:pt x="14" y="4"/>
                  </a:moveTo>
                  <a:lnTo>
                    <a:pt x="14" y="5"/>
                  </a:lnTo>
                  <a:lnTo>
                    <a:pt x="13" y="7"/>
                  </a:lnTo>
                  <a:lnTo>
                    <a:pt x="11" y="12"/>
                  </a:lnTo>
                  <a:lnTo>
                    <a:pt x="7" y="15"/>
                  </a:lnTo>
                  <a:lnTo>
                    <a:pt x="4" y="18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7" y="35"/>
                  </a:lnTo>
                  <a:lnTo>
                    <a:pt x="12" y="37"/>
                  </a:lnTo>
                  <a:lnTo>
                    <a:pt x="16" y="40"/>
                  </a:lnTo>
                  <a:lnTo>
                    <a:pt x="19" y="44"/>
                  </a:lnTo>
                  <a:lnTo>
                    <a:pt x="22" y="46"/>
                  </a:lnTo>
                  <a:lnTo>
                    <a:pt x="27" y="44"/>
                  </a:lnTo>
                  <a:lnTo>
                    <a:pt x="31" y="40"/>
                  </a:lnTo>
                  <a:lnTo>
                    <a:pt x="34" y="35"/>
                  </a:lnTo>
                  <a:lnTo>
                    <a:pt x="34" y="29"/>
                  </a:lnTo>
                  <a:lnTo>
                    <a:pt x="33" y="24"/>
                  </a:lnTo>
                  <a:lnTo>
                    <a:pt x="30" y="20"/>
                  </a:lnTo>
                  <a:lnTo>
                    <a:pt x="30" y="15"/>
                  </a:lnTo>
                  <a:lnTo>
                    <a:pt x="29" y="9"/>
                  </a:lnTo>
                  <a:lnTo>
                    <a:pt x="27" y="5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3" name="Freeform 437"/>
            <p:cNvSpPr>
              <a:spLocks/>
            </p:cNvSpPr>
            <p:nvPr/>
          </p:nvSpPr>
          <p:spPr bwMode="auto">
            <a:xfrm>
              <a:off x="2315888" y="1913382"/>
              <a:ext cx="198789" cy="97879"/>
            </a:xfrm>
            <a:custGeom>
              <a:avLst/>
              <a:gdLst>
                <a:gd name="T0" fmla="*/ 2147483646 w 202"/>
                <a:gd name="T1" fmla="*/ 2147483646 h 100"/>
                <a:gd name="T2" fmla="*/ 2147483646 w 202"/>
                <a:gd name="T3" fmla="*/ 2147483646 h 100"/>
                <a:gd name="T4" fmla="*/ 2147483646 w 202"/>
                <a:gd name="T5" fmla="*/ 2147483646 h 100"/>
                <a:gd name="T6" fmla="*/ 2147483646 w 202"/>
                <a:gd name="T7" fmla="*/ 2147483646 h 100"/>
                <a:gd name="T8" fmla="*/ 2147483646 w 202"/>
                <a:gd name="T9" fmla="*/ 2147483646 h 100"/>
                <a:gd name="T10" fmla="*/ 2147483646 w 202"/>
                <a:gd name="T11" fmla="*/ 2147483646 h 100"/>
                <a:gd name="T12" fmla="*/ 2147483646 w 202"/>
                <a:gd name="T13" fmla="*/ 2147483646 h 100"/>
                <a:gd name="T14" fmla="*/ 2147483646 w 202"/>
                <a:gd name="T15" fmla="*/ 2147483646 h 100"/>
                <a:gd name="T16" fmla="*/ 2147483646 w 202"/>
                <a:gd name="T17" fmla="*/ 2147483646 h 100"/>
                <a:gd name="T18" fmla="*/ 2147483646 w 202"/>
                <a:gd name="T19" fmla="*/ 2147483646 h 100"/>
                <a:gd name="T20" fmla="*/ 2147483646 w 202"/>
                <a:gd name="T21" fmla="*/ 2147483646 h 100"/>
                <a:gd name="T22" fmla="*/ 2147483646 w 202"/>
                <a:gd name="T23" fmla="*/ 2147483646 h 100"/>
                <a:gd name="T24" fmla="*/ 2147483646 w 202"/>
                <a:gd name="T25" fmla="*/ 2147483646 h 100"/>
                <a:gd name="T26" fmla="*/ 2147483646 w 202"/>
                <a:gd name="T27" fmla="*/ 2147483646 h 100"/>
                <a:gd name="T28" fmla="*/ 2147483646 w 202"/>
                <a:gd name="T29" fmla="*/ 2147483646 h 100"/>
                <a:gd name="T30" fmla="*/ 2147483646 w 202"/>
                <a:gd name="T31" fmla="*/ 2147483646 h 100"/>
                <a:gd name="T32" fmla="*/ 2147483646 w 202"/>
                <a:gd name="T33" fmla="*/ 2147483646 h 100"/>
                <a:gd name="T34" fmla="*/ 2147483646 w 202"/>
                <a:gd name="T35" fmla="*/ 2147483646 h 100"/>
                <a:gd name="T36" fmla="*/ 2147483646 w 202"/>
                <a:gd name="T37" fmla="*/ 2147483646 h 100"/>
                <a:gd name="T38" fmla="*/ 2147483646 w 202"/>
                <a:gd name="T39" fmla="*/ 2147483646 h 100"/>
                <a:gd name="T40" fmla="*/ 2147483646 w 202"/>
                <a:gd name="T41" fmla="*/ 2147483646 h 100"/>
                <a:gd name="T42" fmla="*/ 2147483646 w 202"/>
                <a:gd name="T43" fmla="*/ 2147483646 h 100"/>
                <a:gd name="T44" fmla="*/ 2147483646 w 202"/>
                <a:gd name="T45" fmla="*/ 2147483646 h 100"/>
                <a:gd name="T46" fmla="*/ 2147483646 w 202"/>
                <a:gd name="T47" fmla="*/ 2147483646 h 100"/>
                <a:gd name="T48" fmla="*/ 2147483646 w 202"/>
                <a:gd name="T49" fmla="*/ 2147483646 h 100"/>
                <a:gd name="T50" fmla="*/ 2147483646 w 202"/>
                <a:gd name="T51" fmla="*/ 2147483646 h 100"/>
                <a:gd name="T52" fmla="*/ 2147483646 w 202"/>
                <a:gd name="T53" fmla="*/ 2147483646 h 100"/>
                <a:gd name="T54" fmla="*/ 0 w 202"/>
                <a:gd name="T55" fmla="*/ 2147483646 h 100"/>
                <a:gd name="T56" fmla="*/ 2147483646 w 202"/>
                <a:gd name="T57" fmla="*/ 2147483646 h 100"/>
                <a:gd name="T58" fmla="*/ 2147483646 w 202"/>
                <a:gd name="T59" fmla="*/ 0 h 100"/>
                <a:gd name="T60" fmla="*/ 2147483646 w 202"/>
                <a:gd name="T61" fmla="*/ 2147483646 h 100"/>
                <a:gd name="T62" fmla="*/ 2147483646 w 202"/>
                <a:gd name="T63" fmla="*/ 2147483646 h 100"/>
                <a:gd name="T64" fmla="*/ 2147483646 w 202"/>
                <a:gd name="T65" fmla="*/ 2147483646 h 100"/>
                <a:gd name="T66" fmla="*/ 2147483646 w 202"/>
                <a:gd name="T67" fmla="*/ 2147483646 h 100"/>
                <a:gd name="T68" fmla="*/ 2147483646 w 202"/>
                <a:gd name="T69" fmla="*/ 2147483646 h 100"/>
                <a:gd name="T70" fmla="*/ 2147483646 w 202"/>
                <a:gd name="T71" fmla="*/ 2147483646 h 100"/>
                <a:gd name="T72" fmla="*/ 2147483646 w 202"/>
                <a:gd name="T73" fmla="*/ 2147483646 h 100"/>
                <a:gd name="T74" fmla="*/ 2147483646 w 202"/>
                <a:gd name="T75" fmla="*/ 2147483646 h 100"/>
                <a:gd name="T76" fmla="*/ 2147483646 w 202"/>
                <a:gd name="T77" fmla="*/ 2147483646 h 100"/>
                <a:gd name="T78" fmla="*/ 2147483646 w 202"/>
                <a:gd name="T79" fmla="*/ 2147483646 h 100"/>
                <a:gd name="T80" fmla="*/ 2147483646 w 202"/>
                <a:gd name="T81" fmla="*/ 2147483646 h 100"/>
                <a:gd name="T82" fmla="*/ 2147483646 w 202"/>
                <a:gd name="T83" fmla="*/ 2147483646 h 100"/>
                <a:gd name="T84" fmla="*/ 2147483646 w 202"/>
                <a:gd name="T85" fmla="*/ 2147483646 h 100"/>
                <a:gd name="T86" fmla="*/ 2147483646 w 202"/>
                <a:gd name="T87" fmla="*/ 2147483646 h 1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02" h="100">
                  <a:moveTo>
                    <a:pt x="166" y="28"/>
                  </a:moveTo>
                  <a:lnTo>
                    <a:pt x="169" y="29"/>
                  </a:lnTo>
                  <a:lnTo>
                    <a:pt x="176" y="30"/>
                  </a:lnTo>
                  <a:lnTo>
                    <a:pt x="184" y="33"/>
                  </a:lnTo>
                  <a:lnTo>
                    <a:pt x="191" y="37"/>
                  </a:lnTo>
                  <a:lnTo>
                    <a:pt x="196" y="41"/>
                  </a:lnTo>
                  <a:lnTo>
                    <a:pt x="198" y="46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1" y="67"/>
                  </a:lnTo>
                  <a:lnTo>
                    <a:pt x="202" y="69"/>
                  </a:lnTo>
                  <a:lnTo>
                    <a:pt x="201" y="73"/>
                  </a:lnTo>
                  <a:lnTo>
                    <a:pt x="196" y="76"/>
                  </a:lnTo>
                  <a:lnTo>
                    <a:pt x="190" y="81"/>
                  </a:lnTo>
                  <a:lnTo>
                    <a:pt x="186" y="84"/>
                  </a:lnTo>
                  <a:lnTo>
                    <a:pt x="180" y="85"/>
                  </a:lnTo>
                  <a:lnTo>
                    <a:pt x="172" y="85"/>
                  </a:lnTo>
                  <a:lnTo>
                    <a:pt x="166" y="84"/>
                  </a:lnTo>
                  <a:lnTo>
                    <a:pt x="163" y="83"/>
                  </a:lnTo>
                  <a:lnTo>
                    <a:pt x="160" y="84"/>
                  </a:lnTo>
                  <a:lnTo>
                    <a:pt x="156" y="88"/>
                  </a:lnTo>
                  <a:lnTo>
                    <a:pt x="152" y="90"/>
                  </a:lnTo>
                  <a:lnTo>
                    <a:pt x="148" y="91"/>
                  </a:lnTo>
                  <a:lnTo>
                    <a:pt x="142" y="92"/>
                  </a:lnTo>
                  <a:lnTo>
                    <a:pt x="136" y="92"/>
                  </a:lnTo>
                  <a:lnTo>
                    <a:pt x="130" y="93"/>
                  </a:lnTo>
                  <a:lnTo>
                    <a:pt x="125" y="93"/>
                  </a:lnTo>
                  <a:lnTo>
                    <a:pt x="120" y="94"/>
                  </a:lnTo>
                  <a:lnTo>
                    <a:pt x="116" y="96"/>
                  </a:lnTo>
                  <a:lnTo>
                    <a:pt x="111" y="98"/>
                  </a:lnTo>
                  <a:lnTo>
                    <a:pt x="106" y="99"/>
                  </a:lnTo>
                  <a:lnTo>
                    <a:pt x="100" y="100"/>
                  </a:lnTo>
                  <a:lnTo>
                    <a:pt x="92" y="100"/>
                  </a:lnTo>
                  <a:lnTo>
                    <a:pt x="84" y="99"/>
                  </a:lnTo>
                  <a:lnTo>
                    <a:pt x="77" y="99"/>
                  </a:lnTo>
                  <a:lnTo>
                    <a:pt x="73" y="97"/>
                  </a:lnTo>
                  <a:lnTo>
                    <a:pt x="68" y="93"/>
                  </a:lnTo>
                  <a:lnTo>
                    <a:pt x="63" y="90"/>
                  </a:lnTo>
                  <a:lnTo>
                    <a:pt x="58" y="85"/>
                  </a:lnTo>
                  <a:lnTo>
                    <a:pt x="53" y="79"/>
                  </a:lnTo>
                  <a:lnTo>
                    <a:pt x="52" y="71"/>
                  </a:lnTo>
                  <a:lnTo>
                    <a:pt x="53" y="61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1" y="44"/>
                  </a:lnTo>
                  <a:lnTo>
                    <a:pt x="49" y="39"/>
                  </a:lnTo>
                  <a:lnTo>
                    <a:pt x="46" y="35"/>
                  </a:lnTo>
                  <a:lnTo>
                    <a:pt x="42" y="32"/>
                  </a:lnTo>
                  <a:lnTo>
                    <a:pt x="36" y="32"/>
                  </a:lnTo>
                  <a:lnTo>
                    <a:pt x="30" y="33"/>
                  </a:lnTo>
                  <a:lnTo>
                    <a:pt x="28" y="35"/>
                  </a:lnTo>
                  <a:lnTo>
                    <a:pt x="24" y="35"/>
                  </a:lnTo>
                  <a:lnTo>
                    <a:pt x="20" y="31"/>
                  </a:lnTo>
                  <a:lnTo>
                    <a:pt x="12" y="25"/>
                  </a:lnTo>
                  <a:lnTo>
                    <a:pt x="5" y="22"/>
                  </a:lnTo>
                  <a:lnTo>
                    <a:pt x="0" y="16"/>
                  </a:lnTo>
                  <a:lnTo>
                    <a:pt x="1" y="9"/>
                  </a:lnTo>
                  <a:lnTo>
                    <a:pt x="7" y="3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4" y="1"/>
                  </a:lnTo>
                  <a:lnTo>
                    <a:pt x="30" y="6"/>
                  </a:lnTo>
                  <a:lnTo>
                    <a:pt x="34" y="12"/>
                  </a:lnTo>
                  <a:lnTo>
                    <a:pt x="37" y="17"/>
                  </a:lnTo>
                  <a:lnTo>
                    <a:pt x="43" y="21"/>
                  </a:lnTo>
                  <a:lnTo>
                    <a:pt x="49" y="20"/>
                  </a:lnTo>
                  <a:lnTo>
                    <a:pt x="52" y="16"/>
                  </a:lnTo>
                  <a:lnTo>
                    <a:pt x="54" y="13"/>
                  </a:lnTo>
                  <a:lnTo>
                    <a:pt x="59" y="12"/>
                  </a:lnTo>
                  <a:lnTo>
                    <a:pt x="63" y="13"/>
                  </a:lnTo>
                  <a:lnTo>
                    <a:pt x="67" y="13"/>
                  </a:lnTo>
                  <a:lnTo>
                    <a:pt x="69" y="16"/>
                  </a:lnTo>
                  <a:lnTo>
                    <a:pt x="70" y="21"/>
                  </a:lnTo>
                  <a:lnTo>
                    <a:pt x="73" y="29"/>
                  </a:lnTo>
                  <a:lnTo>
                    <a:pt x="80" y="36"/>
                  </a:lnTo>
                  <a:lnTo>
                    <a:pt x="85" y="43"/>
                  </a:lnTo>
                  <a:lnTo>
                    <a:pt x="88" y="50"/>
                  </a:lnTo>
                  <a:lnTo>
                    <a:pt x="91" y="53"/>
                  </a:lnTo>
                  <a:lnTo>
                    <a:pt x="100" y="52"/>
                  </a:lnTo>
                  <a:lnTo>
                    <a:pt x="111" y="51"/>
                  </a:lnTo>
                  <a:lnTo>
                    <a:pt x="119" y="52"/>
                  </a:lnTo>
                  <a:lnTo>
                    <a:pt x="123" y="53"/>
                  </a:lnTo>
                  <a:lnTo>
                    <a:pt x="128" y="51"/>
                  </a:lnTo>
                  <a:lnTo>
                    <a:pt x="133" y="46"/>
                  </a:lnTo>
                  <a:lnTo>
                    <a:pt x="138" y="41"/>
                  </a:lnTo>
                  <a:lnTo>
                    <a:pt x="143" y="37"/>
                  </a:lnTo>
                  <a:lnTo>
                    <a:pt x="149" y="32"/>
                  </a:lnTo>
                  <a:lnTo>
                    <a:pt x="154" y="29"/>
                  </a:lnTo>
                  <a:lnTo>
                    <a:pt x="166" y="2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4" name="Freeform 438"/>
            <p:cNvSpPr>
              <a:spLocks/>
            </p:cNvSpPr>
            <p:nvPr/>
          </p:nvSpPr>
          <p:spPr bwMode="auto">
            <a:xfrm>
              <a:off x="2159487" y="1851644"/>
              <a:ext cx="40927" cy="36140"/>
            </a:xfrm>
            <a:custGeom>
              <a:avLst/>
              <a:gdLst>
                <a:gd name="T0" fmla="*/ 2147483646 w 40"/>
                <a:gd name="T1" fmla="*/ 2147483646 h 37"/>
                <a:gd name="T2" fmla="*/ 2147483646 w 40"/>
                <a:gd name="T3" fmla="*/ 2147483646 h 37"/>
                <a:gd name="T4" fmla="*/ 2147483646 w 40"/>
                <a:gd name="T5" fmla="*/ 2147483646 h 37"/>
                <a:gd name="T6" fmla="*/ 2147483646 w 40"/>
                <a:gd name="T7" fmla="*/ 2147483646 h 37"/>
                <a:gd name="T8" fmla="*/ 2147483646 w 40"/>
                <a:gd name="T9" fmla="*/ 2147483646 h 37"/>
                <a:gd name="T10" fmla="*/ 2147483646 w 40"/>
                <a:gd name="T11" fmla="*/ 2147483646 h 37"/>
                <a:gd name="T12" fmla="*/ 2147483646 w 40"/>
                <a:gd name="T13" fmla="*/ 2147483646 h 37"/>
                <a:gd name="T14" fmla="*/ 2147483646 w 40"/>
                <a:gd name="T15" fmla="*/ 2147483646 h 37"/>
                <a:gd name="T16" fmla="*/ 2147483646 w 40"/>
                <a:gd name="T17" fmla="*/ 2147483646 h 37"/>
                <a:gd name="T18" fmla="*/ 2147483646 w 40"/>
                <a:gd name="T19" fmla="*/ 2147483646 h 37"/>
                <a:gd name="T20" fmla="*/ 2147483646 w 40"/>
                <a:gd name="T21" fmla="*/ 2147483646 h 37"/>
                <a:gd name="T22" fmla="*/ 2147483646 w 40"/>
                <a:gd name="T23" fmla="*/ 2147483646 h 37"/>
                <a:gd name="T24" fmla="*/ 2147483646 w 40"/>
                <a:gd name="T25" fmla="*/ 2147483646 h 37"/>
                <a:gd name="T26" fmla="*/ 2147483646 w 40"/>
                <a:gd name="T27" fmla="*/ 2147483646 h 37"/>
                <a:gd name="T28" fmla="*/ 0 w 40"/>
                <a:gd name="T29" fmla="*/ 2147483646 h 37"/>
                <a:gd name="T30" fmla="*/ 2147483646 w 40"/>
                <a:gd name="T31" fmla="*/ 2147483646 h 37"/>
                <a:gd name="T32" fmla="*/ 2147483646 w 40"/>
                <a:gd name="T33" fmla="*/ 2147483646 h 37"/>
                <a:gd name="T34" fmla="*/ 2147483646 w 40"/>
                <a:gd name="T35" fmla="*/ 2147483646 h 37"/>
                <a:gd name="T36" fmla="*/ 2147483646 w 40"/>
                <a:gd name="T37" fmla="*/ 2147483646 h 37"/>
                <a:gd name="T38" fmla="*/ 2147483646 w 40"/>
                <a:gd name="T39" fmla="*/ 0 h 37"/>
                <a:gd name="T40" fmla="*/ 2147483646 w 40"/>
                <a:gd name="T41" fmla="*/ 2147483646 h 37"/>
                <a:gd name="T42" fmla="*/ 2147483646 w 40"/>
                <a:gd name="T43" fmla="*/ 2147483646 h 37"/>
                <a:gd name="T44" fmla="*/ 2147483646 w 40"/>
                <a:gd name="T45" fmla="*/ 2147483646 h 37"/>
                <a:gd name="T46" fmla="*/ 2147483646 w 40"/>
                <a:gd name="T47" fmla="*/ 2147483646 h 37"/>
                <a:gd name="T48" fmla="*/ 2147483646 w 40"/>
                <a:gd name="T49" fmla="*/ 2147483646 h 3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37">
                  <a:moveTo>
                    <a:pt x="38" y="20"/>
                  </a:moveTo>
                  <a:lnTo>
                    <a:pt x="37" y="21"/>
                  </a:lnTo>
                  <a:lnTo>
                    <a:pt x="35" y="26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4" y="36"/>
                  </a:lnTo>
                  <a:lnTo>
                    <a:pt x="19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2" y="36"/>
                  </a:lnTo>
                  <a:lnTo>
                    <a:pt x="11" y="34"/>
                  </a:lnTo>
                  <a:lnTo>
                    <a:pt x="9" y="32"/>
                  </a:lnTo>
                  <a:lnTo>
                    <a:pt x="5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6" y="12"/>
                  </a:lnTo>
                  <a:lnTo>
                    <a:pt x="12" y="7"/>
                  </a:lnTo>
                  <a:lnTo>
                    <a:pt x="17" y="3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2" y="4"/>
                  </a:lnTo>
                  <a:lnTo>
                    <a:pt x="37" y="7"/>
                  </a:lnTo>
                  <a:lnTo>
                    <a:pt x="40" y="12"/>
                  </a:lnTo>
                  <a:lnTo>
                    <a:pt x="38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5" name="Freeform 439"/>
            <p:cNvSpPr>
              <a:spLocks/>
            </p:cNvSpPr>
            <p:nvPr/>
          </p:nvSpPr>
          <p:spPr bwMode="auto">
            <a:xfrm flipV="1">
              <a:off x="2315888" y="1622759"/>
              <a:ext cx="198789" cy="307188"/>
            </a:xfrm>
            <a:custGeom>
              <a:avLst/>
              <a:gdLst>
                <a:gd name="T0" fmla="*/ 2147483646 w 201"/>
                <a:gd name="T1" fmla="*/ 2147483646 h 319"/>
                <a:gd name="T2" fmla="*/ 2147483646 w 201"/>
                <a:gd name="T3" fmla="*/ 2147483646 h 319"/>
                <a:gd name="T4" fmla="*/ 2147483646 w 201"/>
                <a:gd name="T5" fmla="*/ 2147483646 h 319"/>
                <a:gd name="T6" fmla="*/ 2147483646 w 201"/>
                <a:gd name="T7" fmla="*/ 2147483646 h 319"/>
                <a:gd name="T8" fmla="*/ 2147483646 w 201"/>
                <a:gd name="T9" fmla="*/ 2147483646 h 319"/>
                <a:gd name="T10" fmla="*/ 2147483646 w 201"/>
                <a:gd name="T11" fmla="*/ 2147483646 h 319"/>
                <a:gd name="T12" fmla="*/ 2147483646 w 201"/>
                <a:gd name="T13" fmla="*/ 2147483646 h 319"/>
                <a:gd name="T14" fmla="*/ 2147483646 w 201"/>
                <a:gd name="T15" fmla="*/ 2147483646 h 319"/>
                <a:gd name="T16" fmla="*/ 2147483646 w 201"/>
                <a:gd name="T17" fmla="*/ 2147483646 h 319"/>
                <a:gd name="T18" fmla="*/ 2147483646 w 201"/>
                <a:gd name="T19" fmla="*/ 2147483646 h 319"/>
                <a:gd name="T20" fmla="*/ 2147483646 w 201"/>
                <a:gd name="T21" fmla="*/ 2147483646 h 319"/>
                <a:gd name="T22" fmla="*/ 2147483646 w 201"/>
                <a:gd name="T23" fmla="*/ 2147483646 h 319"/>
                <a:gd name="T24" fmla="*/ 2147483646 w 201"/>
                <a:gd name="T25" fmla="*/ 2147483646 h 319"/>
                <a:gd name="T26" fmla="*/ 2147483646 w 201"/>
                <a:gd name="T27" fmla="*/ 2147483646 h 319"/>
                <a:gd name="T28" fmla="*/ 2147483646 w 201"/>
                <a:gd name="T29" fmla="*/ 2147483646 h 319"/>
                <a:gd name="T30" fmla="*/ 2147483646 w 201"/>
                <a:gd name="T31" fmla="*/ 2147483646 h 319"/>
                <a:gd name="T32" fmla="*/ 2147483646 w 201"/>
                <a:gd name="T33" fmla="*/ 2147483646 h 319"/>
                <a:gd name="T34" fmla="*/ 2147483646 w 201"/>
                <a:gd name="T35" fmla="*/ 2147483646 h 319"/>
                <a:gd name="T36" fmla="*/ 2147483646 w 201"/>
                <a:gd name="T37" fmla="*/ 2147483646 h 319"/>
                <a:gd name="T38" fmla="*/ 2147483646 w 201"/>
                <a:gd name="T39" fmla="*/ 2147483646 h 319"/>
                <a:gd name="T40" fmla="*/ 2147483646 w 201"/>
                <a:gd name="T41" fmla="*/ 2147483646 h 319"/>
                <a:gd name="T42" fmla="*/ 2147483646 w 201"/>
                <a:gd name="T43" fmla="*/ 2147483646 h 319"/>
                <a:gd name="T44" fmla="*/ 2147483646 w 201"/>
                <a:gd name="T45" fmla="*/ 2147483646 h 319"/>
                <a:gd name="T46" fmla="*/ 2147483646 w 201"/>
                <a:gd name="T47" fmla="*/ 2147483646 h 319"/>
                <a:gd name="T48" fmla="*/ 2147483646 w 201"/>
                <a:gd name="T49" fmla="*/ 2147483646 h 319"/>
                <a:gd name="T50" fmla="*/ 2147483646 w 201"/>
                <a:gd name="T51" fmla="*/ 0 h 319"/>
                <a:gd name="T52" fmla="*/ 2147483646 w 201"/>
                <a:gd name="T53" fmla="*/ 2147483646 h 319"/>
                <a:gd name="T54" fmla="*/ 2147483646 w 201"/>
                <a:gd name="T55" fmla="*/ 2147483646 h 319"/>
                <a:gd name="T56" fmla="*/ 2147483646 w 201"/>
                <a:gd name="T57" fmla="*/ 2147483646 h 319"/>
                <a:gd name="T58" fmla="*/ 2147483646 w 201"/>
                <a:gd name="T59" fmla="*/ 2147483646 h 319"/>
                <a:gd name="T60" fmla="*/ 2147483646 w 201"/>
                <a:gd name="T61" fmla="*/ 2147483646 h 319"/>
                <a:gd name="T62" fmla="*/ 2147483646 w 201"/>
                <a:gd name="T63" fmla="*/ 2147483646 h 319"/>
                <a:gd name="T64" fmla="*/ 2147483646 w 201"/>
                <a:gd name="T65" fmla="*/ 2147483646 h 319"/>
                <a:gd name="T66" fmla="*/ 2147483646 w 201"/>
                <a:gd name="T67" fmla="*/ 2147483646 h 319"/>
                <a:gd name="T68" fmla="*/ 2147483646 w 201"/>
                <a:gd name="T69" fmla="*/ 2147483646 h 319"/>
                <a:gd name="T70" fmla="*/ 2147483646 w 201"/>
                <a:gd name="T71" fmla="*/ 2147483646 h 319"/>
                <a:gd name="T72" fmla="*/ 2147483646 w 201"/>
                <a:gd name="T73" fmla="*/ 2147483646 h 319"/>
                <a:gd name="T74" fmla="*/ 2147483646 w 201"/>
                <a:gd name="T75" fmla="*/ 2147483646 h 319"/>
                <a:gd name="T76" fmla="*/ 2147483646 w 201"/>
                <a:gd name="T77" fmla="*/ 2147483646 h 319"/>
                <a:gd name="T78" fmla="*/ 2147483646 w 201"/>
                <a:gd name="T79" fmla="*/ 2147483646 h 319"/>
                <a:gd name="T80" fmla="*/ 2147483646 w 201"/>
                <a:gd name="T81" fmla="*/ 2147483646 h 319"/>
                <a:gd name="T82" fmla="*/ 2147483646 w 201"/>
                <a:gd name="T83" fmla="*/ 2147483646 h 319"/>
                <a:gd name="T84" fmla="*/ 2147483646 w 201"/>
                <a:gd name="T85" fmla="*/ 2147483646 h 319"/>
                <a:gd name="T86" fmla="*/ 0 w 201"/>
                <a:gd name="T87" fmla="*/ 2147483646 h 319"/>
                <a:gd name="T88" fmla="*/ 2147483646 w 201"/>
                <a:gd name="T89" fmla="*/ 2147483646 h 319"/>
                <a:gd name="T90" fmla="*/ 2147483646 w 201"/>
                <a:gd name="T91" fmla="*/ 2147483646 h 319"/>
                <a:gd name="T92" fmla="*/ 2147483646 w 201"/>
                <a:gd name="T93" fmla="*/ 2147483646 h 319"/>
                <a:gd name="T94" fmla="*/ 2147483646 w 201"/>
                <a:gd name="T95" fmla="*/ 2147483646 h 319"/>
                <a:gd name="T96" fmla="*/ 2147483646 w 201"/>
                <a:gd name="T97" fmla="*/ 2147483646 h 319"/>
                <a:gd name="T98" fmla="*/ 2147483646 w 201"/>
                <a:gd name="T99" fmla="*/ 2147483646 h 319"/>
                <a:gd name="T100" fmla="*/ 2147483646 w 201"/>
                <a:gd name="T101" fmla="*/ 2147483646 h 319"/>
                <a:gd name="T102" fmla="*/ 2147483646 w 201"/>
                <a:gd name="T103" fmla="*/ 2147483646 h 319"/>
                <a:gd name="T104" fmla="*/ 2147483646 w 201"/>
                <a:gd name="T105" fmla="*/ 2147483646 h 319"/>
                <a:gd name="T106" fmla="*/ 2147483646 w 201"/>
                <a:gd name="T107" fmla="*/ 2147483646 h 319"/>
                <a:gd name="T108" fmla="*/ 2147483646 w 201"/>
                <a:gd name="T109" fmla="*/ 2147483646 h 319"/>
                <a:gd name="T110" fmla="*/ 2147483646 w 201"/>
                <a:gd name="T111" fmla="*/ 2147483646 h 31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01" h="319">
                  <a:moveTo>
                    <a:pt x="84" y="267"/>
                  </a:moveTo>
                  <a:lnTo>
                    <a:pt x="88" y="270"/>
                  </a:lnTo>
                  <a:lnTo>
                    <a:pt x="93" y="277"/>
                  </a:lnTo>
                  <a:lnTo>
                    <a:pt x="97" y="283"/>
                  </a:lnTo>
                  <a:lnTo>
                    <a:pt x="95" y="290"/>
                  </a:lnTo>
                  <a:lnTo>
                    <a:pt x="88" y="294"/>
                  </a:lnTo>
                  <a:lnTo>
                    <a:pt x="82" y="296"/>
                  </a:lnTo>
                  <a:lnTo>
                    <a:pt x="78" y="301"/>
                  </a:lnTo>
                  <a:lnTo>
                    <a:pt x="80" y="308"/>
                  </a:lnTo>
                  <a:lnTo>
                    <a:pt x="82" y="315"/>
                  </a:lnTo>
                  <a:lnTo>
                    <a:pt x="85" y="318"/>
                  </a:lnTo>
                  <a:lnTo>
                    <a:pt x="92" y="319"/>
                  </a:lnTo>
                  <a:lnTo>
                    <a:pt x="104" y="319"/>
                  </a:lnTo>
                  <a:lnTo>
                    <a:pt x="116" y="319"/>
                  </a:lnTo>
                  <a:lnTo>
                    <a:pt x="123" y="318"/>
                  </a:lnTo>
                  <a:lnTo>
                    <a:pt x="129" y="316"/>
                  </a:lnTo>
                  <a:lnTo>
                    <a:pt x="136" y="312"/>
                  </a:lnTo>
                  <a:lnTo>
                    <a:pt x="144" y="309"/>
                  </a:lnTo>
                  <a:lnTo>
                    <a:pt x="151" y="305"/>
                  </a:lnTo>
                  <a:lnTo>
                    <a:pt x="158" y="304"/>
                  </a:lnTo>
                  <a:lnTo>
                    <a:pt x="164" y="304"/>
                  </a:lnTo>
                  <a:lnTo>
                    <a:pt x="171" y="306"/>
                  </a:lnTo>
                  <a:lnTo>
                    <a:pt x="176" y="306"/>
                  </a:lnTo>
                  <a:lnTo>
                    <a:pt x="182" y="305"/>
                  </a:lnTo>
                  <a:lnTo>
                    <a:pt x="187" y="300"/>
                  </a:lnTo>
                  <a:lnTo>
                    <a:pt x="191" y="294"/>
                  </a:lnTo>
                  <a:lnTo>
                    <a:pt x="197" y="289"/>
                  </a:lnTo>
                  <a:lnTo>
                    <a:pt x="198" y="285"/>
                  </a:lnTo>
                  <a:lnTo>
                    <a:pt x="191" y="279"/>
                  </a:lnTo>
                  <a:lnTo>
                    <a:pt x="180" y="273"/>
                  </a:lnTo>
                  <a:lnTo>
                    <a:pt x="173" y="270"/>
                  </a:lnTo>
                  <a:lnTo>
                    <a:pt x="169" y="266"/>
                  </a:lnTo>
                  <a:lnTo>
                    <a:pt x="172" y="263"/>
                  </a:lnTo>
                  <a:lnTo>
                    <a:pt x="177" y="259"/>
                  </a:lnTo>
                  <a:lnTo>
                    <a:pt x="181" y="256"/>
                  </a:lnTo>
                  <a:lnTo>
                    <a:pt x="182" y="251"/>
                  </a:lnTo>
                  <a:lnTo>
                    <a:pt x="182" y="244"/>
                  </a:lnTo>
                  <a:lnTo>
                    <a:pt x="180" y="238"/>
                  </a:lnTo>
                  <a:lnTo>
                    <a:pt x="179" y="235"/>
                  </a:lnTo>
                  <a:lnTo>
                    <a:pt x="179" y="232"/>
                  </a:lnTo>
                  <a:lnTo>
                    <a:pt x="182" y="227"/>
                  </a:lnTo>
                  <a:lnTo>
                    <a:pt x="188" y="219"/>
                  </a:lnTo>
                  <a:lnTo>
                    <a:pt x="195" y="209"/>
                  </a:lnTo>
                  <a:lnTo>
                    <a:pt x="197" y="197"/>
                  </a:lnTo>
                  <a:lnTo>
                    <a:pt x="190" y="187"/>
                  </a:lnTo>
                  <a:lnTo>
                    <a:pt x="177" y="179"/>
                  </a:lnTo>
                  <a:lnTo>
                    <a:pt x="168" y="173"/>
                  </a:lnTo>
                  <a:lnTo>
                    <a:pt x="165" y="168"/>
                  </a:lnTo>
                  <a:lnTo>
                    <a:pt x="168" y="162"/>
                  </a:lnTo>
                  <a:lnTo>
                    <a:pt x="177" y="156"/>
                  </a:lnTo>
                  <a:lnTo>
                    <a:pt x="188" y="149"/>
                  </a:lnTo>
                  <a:lnTo>
                    <a:pt x="195" y="139"/>
                  </a:lnTo>
                  <a:lnTo>
                    <a:pt x="195" y="130"/>
                  </a:lnTo>
                  <a:lnTo>
                    <a:pt x="192" y="120"/>
                  </a:lnTo>
                  <a:lnTo>
                    <a:pt x="194" y="109"/>
                  </a:lnTo>
                  <a:lnTo>
                    <a:pt x="195" y="100"/>
                  </a:lnTo>
                  <a:lnTo>
                    <a:pt x="196" y="90"/>
                  </a:lnTo>
                  <a:lnTo>
                    <a:pt x="197" y="77"/>
                  </a:lnTo>
                  <a:lnTo>
                    <a:pt x="199" y="65"/>
                  </a:lnTo>
                  <a:lnTo>
                    <a:pt x="201" y="55"/>
                  </a:lnTo>
                  <a:lnTo>
                    <a:pt x="196" y="52"/>
                  </a:lnTo>
                  <a:lnTo>
                    <a:pt x="189" y="54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90" y="40"/>
                  </a:lnTo>
                  <a:lnTo>
                    <a:pt x="197" y="29"/>
                  </a:lnTo>
                  <a:lnTo>
                    <a:pt x="199" y="18"/>
                  </a:lnTo>
                  <a:lnTo>
                    <a:pt x="198" y="10"/>
                  </a:lnTo>
                  <a:lnTo>
                    <a:pt x="194" y="6"/>
                  </a:lnTo>
                  <a:lnTo>
                    <a:pt x="192" y="5"/>
                  </a:lnTo>
                  <a:lnTo>
                    <a:pt x="190" y="5"/>
                  </a:lnTo>
                  <a:lnTo>
                    <a:pt x="189" y="5"/>
                  </a:lnTo>
                  <a:lnTo>
                    <a:pt x="187" y="5"/>
                  </a:lnTo>
                  <a:lnTo>
                    <a:pt x="179" y="6"/>
                  </a:lnTo>
                  <a:lnTo>
                    <a:pt x="173" y="3"/>
                  </a:lnTo>
                  <a:lnTo>
                    <a:pt x="168" y="1"/>
                  </a:lnTo>
                  <a:lnTo>
                    <a:pt x="164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60" y="1"/>
                  </a:lnTo>
                  <a:lnTo>
                    <a:pt x="159" y="2"/>
                  </a:lnTo>
                  <a:lnTo>
                    <a:pt x="156" y="5"/>
                  </a:lnTo>
                  <a:lnTo>
                    <a:pt x="151" y="6"/>
                  </a:lnTo>
                  <a:lnTo>
                    <a:pt x="145" y="6"/>
                  </a:lnTo>
                  <a:lnTo>
                    <a:pt x="139" y="7"/>
                  </a:lnTo>
                  <a:lnTo>
                    <a:pt x="135" y="8"/>
                  </a:lnTo>
                  <a:lnTo>
                    <a:pt x="129" y="9"/>
                  </a:lnTo>
                  <a:lnTo>
                    <a:pt x="126" y="10"/>
                  </a:lnTo>
                  <a:lnTo>
                    <a:pt x="123" y="14"/>
                  </a:lnTo>
                  <a:lnTo>
                    <a:pt x="121" y="17"/>
                  </a:lnTo>
                  <a:lnTo>
                    <a:pt x="119" y="18"/>
                  </a:lnTo>
                  <a:lnTo>
                    <a:pt x="115" y="18"/>
                  </a:lnTo>
                  <a:lnTo>
                    <a:pt x="108" y="20"/>
                  </a:lnTo>
                  <a:lnTo>
                    <a:pt x="100" y="23"/>
                  </a:lnTo>
                  <a:lnTo>
                    <a:pt x="93" y="26"/>
                  </a:lnTo>
                  <a:lnTo>
                    <a:pt x="87" y="31"/>
                  </a:lnTo>
                  <a:lnTo>
                    <a:pt x="82" y="39"/>
                  </a:lnTo>
                  <a:lnTo>
                    <a:pt x="80" y="47"/>
                  </a:lnTo>
                  <a:lnTo>
                    <a:pt x="81" y="54"/>
                  </a:lnTo>
                  <a:lnTo>
                    <a:pt x="81" y="59"/>
                  </a:lnTo>
                  <a:lnTo>
                    <a:pt x="80" y="60"/>
                  </a:lnTo>
                  <a:lnTo>
                    <a:pt x="74" y="61"/>
                  </a:lnTo>
                  <a:lnTo>
                    <a:pt x="67" y="62"/>
                  </a:lnTo>
                  <a:lnTo>
                    <a:pt x="60" y="66"/>
                  </a:lnTo>
                  <a:lnTo>
                    <a:pt x="59" y="70"/>
                  </a:lnTo>
                  <a:lnTo>
                    <a:pt x="57" y="74"/>
                  </a:lnTo>
                  <a:lnTo>
                    <a:pt x="52" y="77"/>
                  </a:lnTo>
                  <a:lnTo>
                    <a:pt x="46" y="81"/>
                  </a:lnTo>
                  <a:lnTo>
                    <a:pt x="43" y="84"/>
                  </a:lnTo>
                  <a:lnTo>
                    <a:pt x="40" y="89"/>
                  </a:lnTo>
                  <a:lnTo>
                    <a:pt x="37" y="93"/>
                  </a:lnTo>
                  <a:lnTo>
                    <a:pt x="35" y="99"/>
                  </a:lnTo>
                  <a:lnTo>
                    <a:pt x="38" y="107"/>
                  </a:lnTo>
                  <a:lnTo>
                    <a:pt x="44" y="115"/>
                  </a:lnTo>
                  <a:lnTo>
                    <a:pt x="47" y="122"/>
                  </a:lnTo>
                  <a:lnTo>
                    <a:pt x="49" y="128"/>
                  </a:lnTo>
                  <a:lnTo>
                    <a:pt x="47" y="132"/>
                  </a:lnTo>
                  <a:lnTo>
                    <a:pt x="45" y="138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38" y="136"/>
                  </a:lnTo>
                  <a:lnTo>
                    <a:pt x="34" y="126"/>
                  </a:lnTo>
                  <a:lnTo>
                    <a:pt x="31" y="118"/>
                  </a:lnTo>
                  <a:lnTo>
                    <a:pt x="28" y="113"/>
                  </a:lnTo>
                  <a:lnTo>
                    <a:pt x="24" y="114"/>
                  </a:lnTo>
                  <a:lnTo>
                    <a:pt x="21" y="118"/>
                  </a:lnTo>
                  <a:lnTo>
                    <a:pt x="16" y="123"/>
                  </a:lnTo>
                  <a:lnTo>
                    <a:pt x="12" y="128"/>
                  </a:lnTo>
                  <a:lnTo>
                    <a:pt x="9" y="132"/>
                  </a:lnTo>
                  <a:lnTo>
                    <a:pt x="7" y="141"/>
                  </a:lnTo>
                  <a:lnTo>
                    <a:pt x="4" y="153"/>
                  </a:lnTo>
                  <a:lnTo>
                    <a:pt x="0" y="166"/>
                  </a:lnTo>
                  <a:lnTo>
                    <a:pt x="0" y="176"/>
                  </a:lnTo>
                  <a:lnTo>
                    <a:pt x="1" y="184"/>
                  </a:lnTo>
                  <a:lnTo>
                    <a:pt x="2" y="190"/>
                  </a:lnTo>
                  <a:lnTo>
                    <a:pt x="6" y="195"/>
                  </a:lnTo>
                  <a:lnTo>
                    <a:pt x="12" y="198"/>
                  </a:lnTo>
                  <a:lnTo>
                    <a:pt x="19" y="199"/>
                  </a:lnTo>
                  <a:lnTo>
                    <a:pt x="23" y="200"/>
                  </a:lnTo>
                  <a:lnTo>
                    <a:pt x="27" y="200"/>
                  </a:lnTo>
                  <a:lnTo>
                    <a:pt x="30" y="199"/>
                  </a:lnTo>
                  <a:lnTo>
                    <a:pt x="31" y="200"/>
                  </a:lnTo>
                  <a:lnTo>
                    <a:pt x="30" y="205"/>
                  </a:lnTo>
                  <a:lnTo>
                    <a:pt x="28" y="211"/>
                  </a:lnTo>
                  <a:lnTo>
                    <a:pt x="24" y="215"/>
                  </a:lnTo>
                  <a:lnTo>
                    <a:pt x="23" y="219"/>
                  </a:lnTo>
                  <a:lnTo>
                    <a:pt x="24" y="224"/>
                  </a:lnTo>
                  <a:lnTo>
                    <a:pt x="28" y="229"/>
                  </a:lnTo>
                  <a:lnTo>
                    <a:pt x="31" y="234"/>
                  </a:lnTo>
                  <a:lnTo>
                    <a:pt x="36" y="238"/>
                  </a:lnTo>
                  <a:lnTo>
                    <a:pt x="44" y="245"/>
                  </a:lnTo>
                  <a:lnTo>
                    <a:pt x="54" y="248"/>
                  </a:lnTo>
                  <a:lnTo>
                    <a:pt x="63" y="244"/>
                  </a:lnTo>
                  <a:lnTo>
                    <a:pt x="70" y="237"/>
                  </a:lnTo>
                  <a:lnTo>
                    <a:pt x="75" y="232"/>
                  </a:lnTo>
                  <a:lnTo>
                    <a:pt x="77" y="229"/>
                  </a:lnTo>
                  <a:lnTo>
                    <a:pt x="82" y="230"/>
                  </a:lnTo>
                  <a:lnTo>
                    <a:pt x="88" y="234"/>
                  </a:lnTo>
                  <a:lnTo>
                    <a:pt x="96" y="240"/>
                  </a:lnTo>
                  <a:lnTo>
                    <a:pt x="104" y="247"/>
                  </a:lnTo>
                  <a:lnTo>
                    <a:pt x="111" y="256"/>
                  </a:lnTo>
                  <a:lnTo>
                    <a:pt x="113" y="263"/>
                  </a:lnTo>
                  <a:lnTo>
                    <a:pt x="113" y="264"/>
                  </a:lnTo>
                  <a:lnTo>
                    <a:pt x="110" y="262"/>
                  </a:lnTo>
                  <a:lnTo>
                    <a:pt x="103" y="256"/>
                  </a:lnTo>
                  <a:lnTo>
                    <a:pt x="93" y="252"/>
                  </a:lnTo>
                  <a:lnTo>
                    <a:pt x="85" y="252"/>
                  </a:lnTo>
                  <a:lnTo>
                    <a:pt x="82" y="258"/>
                  </a:lnTo>
                  <a:lnTo>
                    <a:pt x="84" y="26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6" name="Freeform 440"/>
            <p:cNvSpPr>
              <a:spLocks/>
            </p:cNvSpPr>
            <p:nvPr/>
          </p:nvSpPr>
          <p:spPr bwMode="auto">
            <a:xfrm>
              <a:off x="2320273" y="1877242"/>
              <a:ext cx="33619" cy="16565"/>
            </a:xfrm>
            <a:custGeom>
              <a:avLst/>
              <a:gdLst>
                <a:gd name="T0" fmla="*/ 2147483646 w 34"/>
                <a:gd name="T1" fmla="*/ 0 h 18"/>
                <a:gd name="T2" fmla="*/ 2147483646 w 34"/>
                <a:gd name="T3" fmla="*/ 2147483646 h 18"/>
                <a:gd name="T4" fmla="*/ 2147483646 w 34"/>
                <a:gd name="T5" fmla="*/ 2147483646 h 18"/>
                <a:gd name="T6" fmla="*/ 2147483646 w 34"/>
                <a:gd name="T7" fmla="*/ 2147483646 h 18"/>
                <a:gd name="T8" fmla="*/ 2147483646 w 34"/>
                <a:gd name="T9" fmla="*/ 2147483646 h 18"/>
                <a:gd name="T10" fmla="*/ 2147483646 w 34"/>
                <a:gd name="T11" fmla="*/ 2147483646 h 18"/>
                <a:gd name="T12" fmla="*/ 2147483646 w 34"/>
                <a:gd name="T13" fmla="*/ 2147483646 h 18"/>
                <a:gd name="T14" fmla="*/ 2147483646 w 34"/>
                <a:gd name="T15" fmla="*/ 2147483646 h 18"/>
                <a:gd name="T16" fmla="*/ 2147483646 w 34"/>
                <a:gd name="T17" fmla="*/ 2147483646 h 18"/>
                <a:gd name="T18" fmla="*/ 2147483646 w 34"/>
                <a:gd name="T19" fmla="*/ 2147483646 h 18"/>
                <a:gd name="T20" fmla="*/ 0 w 34"/>
                <a:gd name="T21" fmla="*/ 2147483646 h 18"/>
                <a:gd name="T22" fmla="*/ 0 w 34"/>
                <a:gd name="T23" fmla="*/ 2147483646 h 18"/>
                <a:gd name="T24" fmla="*/ 2147483646 w 34"/>
                <a:gd name="T25" fmla="*/ 2147483646 h 18"/>
                <a:gd name="T26" fmla="*/ 2147483646 w 34"/>
                <a:gd name="T27" fmla="*/ 2147483646 h 18"/>
                <a:gd name="T28" fmla="*/ 2147483646 w 34"/>
                <a:gd name="T29" fmla="*/ 2147483646 h 18"/>
                <a:gd name="T30" fmla="*/ 2147483646 w 34"/>
                <a:gd name="T31" fmla="*/ 2147483646 h 18"/>
                <a:gd name="T32" fmla="*/ 2147483646 w 34"/>
                <a:gd name="T33" fmla="*/ 0 h 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18">
                  <a:moveTo>
                    <a:pt x="31" y="0"/>
                  </a:moveTo>
                  <a:lnTo>
                    <a:pt x="32" y="1"/>
                  </a:lnTo>
                  <a:lnTo>
                    <a:pt x="34" y="3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19" y="18"/>
                  </a:lnTo>
                  <a:lnTo>
                    <a:pt x="12" y="18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7"/>
                  </a:lnTo>
                  <a:lnTo>
                    <a:pt x="14" y="4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7" name="Freeform 441"/>
            <p:cNvSpPr>
              <a:spLocks/>
            </p:cNvSpPr>
            <p:nvPr/>
          </p:nvSpPr>
          <p:spPr bwMode="auto">
            <a:xfrm>
              <a:off x="2302733" y="1833574"/>
              <a:ext cx="30696" cy="45175"/>
            </a:xfrm>
            <a:custGeom>
              <a:avLst/>
              <a:gdLst>
                <a:gd name="T0" fmla="*/ 2147483646 w 34"/>
                <a:gd name="T1" fmla="*/ 2147483646 h 46"/>
                <a:gd name="T2" fmla="*/ 2147483646 w 34"/>
                <a:gd name="T3" fmla="*/ 2147483646 h 46"/>
                <a:gd name="T4" fmla="*/ 2147483646 w 34"/>
                <a:gd name="T5" fmla="*/ 2147483646 h 46"/>
                <a:gd name="T6" fmla="*/ 2147483646 w 34"/>
                <a:gd name="T7" fmla="*/ 0 h 46"/>
                <a:gd name="T8" fmla="*/ 2147483646 w 34"/>
                <a:gd name="T9" fmla="*/ 0 h 46"/>
                <a:gd name="T10" fmla="*/ 2147483646 w 34"/>
                <a:gd name="T11" fmla="*/ 2147483646 h 46"/>
                <a:gd name="T12" fmla="*/ 0 w 34"/>
                <a:gd name="T13" fmla="*/ 2147483646 h 46"/>
                <a:gd name="T14" fmla="*/ 2147483646 w 34"/>
                <a:gd name="T15" fmla="*/ 2147483646 h 46"/>
                <a:gd name="T16" fmla="*/ 2147483646 w 34"/>
                <a:gd name="T17" fmla="*/ 2147483646 h 46"/>
                <a:gd name="T18" fmla="*/ 2147483646 w 34"/>
                <a:gd name="T19" fmla="*/ 2147483646 h 46"/>
                <a:gd name="T20" fmla="*/ 2147483646 w 34"/>
                <a:gd name="T21" fmla="*/ 2147483646 h 46"/>
                <a:gd name="T22" fmla="*/ 2147483646 w 34"/>
                <a:gd name="T23" fmla="*/ 2147483646 h 46"/>
                <a:gd name="T24" fmla="*/ 2147483646 w 34"/>
                <a:gd name="T25" fmla="*/ 2147483646 h 46"/>
                <a:gd name="T26" fmla="*/ 2147483646 w 34"/>
                <a:gd name="T27" fmla="*/ 2147483646 h 46"/>
                <a:gd name="T28" fmla="*/ 2147483646 w 34"/>
                <a:gd name="T29" fmla="*/ 2147483646 h 46"/>
                <a:gd name="T30" fmla="*/ 2147483646 w 34"/>
                <a:gd name="T31" fmla="*/ 2147483646 h 46"/>
                <a:gd name="T32" fmla="*/ 2147483646 w 34"/>
                <a:gd name="T33" fmla="*/ 2147483646 h 46"/>
                <a:gd name="T34" fmla="*/ 2147483646 w 34"/>
                <a:gd name="T35" fmla="*/ 2147483646 h 46"/>
                <a:gd name="T36" fmla="*/ 2147483646 w 34"/>
                <a:gd name="T37" fmla="*/ 2147483646 h 46"/>
                <a:gd name="T38" fmla="*/ 2147483646 w 34"/>
                <a:gd name="T39" fmla="*/ 2147483646 h 46"/>
                <a:gd name="T40" fmla="*/ 2147483646 w 34"/>
                <a:gd name="T41" fmla="*/ 2147483646 h 46"/>
                <a:gd name="T42" fmla="*/ 2147483646 w 34"/>
                <a:gd name="T43" fmla="*/ 2147483646 h 46"/>
                <a:gd name="T44" fmla="*/ 2147483646 w 34"/>
                <a:gd name="T45" fmla="*/ 2147483646 h 46"/>
                <a:gd name="T46" fmla="*/ 2147483646 w 34"/>
                <a:gd name="T47" fmla="*/ 2147483646 h 46"/>
                <a:gd name="T48" fmla="*/ 2147483646 w 34"/>
                <a:gd name="T49" fmla="*/ 2147483646 h 4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4" h="46">
                  <a:moveTo>
                    <a:pt x="22" y="14"/>
                  </a:moveTo>
                  <a:lnTo>
                    <a:pt x="20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3" y="0"/>
                  </a:lnTo>
                  <a:lnTo>
                    <a:pt x="1" y="5"/>
                  </a:lnTo>
                  <a:lnTo>
                    <a:pt x="0" y="10"/>
                  </a:lnTo>
                  <a:lnTo>
                    <a:pt x="1" y="15"/>
                  </a:lnTo>
                  <a:lnTo>
                    <a:pt x="1" y="20"/>
                  </a:lnTo>
                  <a:lnTo>
                    <a:pt x="3" y="27"/>
                  </a:lnTo>
                  <a:lnTo>
                    <a:pt x="4" y="36"/>
                  </a:lnTo>
                  <a:lnTo>
                    <a:pt x="7" y="43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21" y="44"/>
                  </a:lnTo>
                  <a:lnTo>
                    <a:pt x="26" y="42"/>
                  </a:lnTo>
                  <a:lnTo>
                    <a:pt x="29" y="38"/>
                  </a:lnTo>
                  <a:lnTo>
                    <a:pt x="31" y="33"/>
                  </a:lnTo>
                  <a:lnTo>
                    <a:pt x="34" y="30"/>
                  </a:lnTo>
                  <a:lnTo>
                    <a:pt x="34" y="27"/>
                  </a:lnTo>
                  <a:lnTo>
                    <a:pt x="30" y="22"/>
                  </a:lnTo>
                  <a:lnTo>
                    <a:pt x="26" y="17"/>
                  </a:lnTo>
                  <a:lnTo>
                    <a:pt x="23" y="15"/>
                  </a:lnTo>
                  <a:lnTo>
                    <a:pt x="22" y="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8" name="Freeform 442"/>
            <p:cNvSpPr>
              <a:spLocks/>
            </p:cNvSpPr>
            <p:nvPr/>
          </p:nvSpPr>
          <p:spPr bwMode="auto">
            <a:xfrm>
              <a:off x="2241342" y="1812492"/>
              <a:ext cx="55544" cy="64750"/>
            </a:xfrm>
            <a:custGeom>
              <a:avLst/>
              <a:gdLst>
                <a:gd name="T0" fmla="*/ 2147483646 w 58"/>
                <a:gd name="T1" fmla="*/ 2147483646 h 67"/>
                <a:gd name="T2" fmla="*/ 2147483646 w 58"/>
                <a:gd name="T3" fmla="*/ 2147483646 h 67"/>
                <a:gd name="T4" fmla="*/ 2147483646 w 58"/>
                <a:gd name="T5" fmla="*/ 2147483646 h 67"/>
                <a:gd name="T6" fmla="*/ 2147483646 w 58"/>
                <a:gd name="T7" fmla="*/ 2147483646 h 67"/>
                <a:gd name="T8" fmla="*/ 2147483646 w 58"/>
                <a:gd name="T9" fmla="*/ 2147483646 h 67"/>
                <a:gd name="T10" fmla="*/ 2147483646 w 58"/>
                <a:gd name="T11" fmla="*/ 2147483646 h 67"/>
                <a:gd name="T12" fmla="*/ 2147483646 w 58"/>
                <a:gd name="T13" fmla="*/ 2147483646 h 67"/>
                <a:gd name="T14" fmla="*/ 2147483646 w 58"/>
                <a:gd name="T15" fmla="*/ 2147483646 h 67"/>
                <a:gd name="T16" fmla="*/ 2147483646 w 58"/>
                <a:gd name="T17" fmla="*/ 2147483646 h 67"/>
                <a:gd name="T18" fmla="*/ 2147483646 w 58"/>
                <a:gd name="T19" fmla="*/ 2147483646 h 67"/>
                <a:gd name="T20" fmla="*/ 2147483646 w 58"/>
                <a:gd name="T21" fmla="*/ 2147483646 h 67"/>
                <a:gd name="T22" fmla="*/ 2147483646 w 58"/>
                <a:gd name="T23" fmla="*/ 2147483646 h 67"/>
                <a:gd name="T24" fmla="*/ 2147483646 w 58"/>
                <a:gd name="T25" fmla="*/ 2147483646 h 67"/>
                <a:gd name="T26" fmla="*/ 2147483646 w 58"/>
                <a:gd name="T27" fmla="*/ 2147483646 h 67"/>
                <a:gd name="T28" fmla="*/ 2147483646 w 58"/>
                <a:gd name="T29" fmla="*/ 2147483646 h 67"/>
                <a:gd name="T30" fmla="*/ 2147483646 w 58"/>
                <a:gd name="T31" fmla="*/ 2147483646 h 67"/>
                <a:gd name="T32" fmla="*/ 2147483646 w 58"/>
                <a:gd name="T33" fmla="*/ 2147483646 h 67"/>
                <a:gd name="T34" fmla="*/ 2147483646 w 58"/>
                <a:gd name="T35" fmla="*/ 2147483646 h 67"/>
                <a:gd name="T36" fmla="*/ 2147483646 w 58"/>
                <a:gd name="T37" fmla="*/ 2147483646 h 67"/>
                <a:gd name="T38" fmla="*/ 2147483646 w 58"/>
                <a:gd name="T39" fmla="*/ 2147483646 h 67"/>
                <a:gd name="T40" fmla="*/ 2147483646 w 58"/>
                <a:gd name="T41" fmla="*/ 2147483646 h 67"/>
                <a:gd name="T42" fmla="*/ 2147483646 w 58"/>
                <a:gd name="T43" fmla="*/ 2147483646 h 67"/>
                <a:gd name="T44" fmla="*/ 2147483646 w 58"/>
                <a:gd name="T45" fmla="*/ 2147483646 h 67"/>
                <a:gd name="T46" fmla="*/ 0 w 58"/>
                <a:gd name="T47" fmla="*/ 2147483646 h 67"/>
                <a:gd name="T48" fmla="*/ 2147483646 w 58"/>
                <a:gd name="T49" fmla="*/ 0 h 67"/>
                <a:gd name="T50" fmla="*/ 2147483646 w 58"/>
                <a:gd name="T51" fmla="*/ 0 h 67"/>
                <a:gd name="T52" fmla="*/ 2147483646 w 58"/>
                <a:gd name="T53" fmla="*/ 0 h 67"/>
                <a:gd name="T54" fmla="*/ 2147483646 w 58"/>
                <a:gd name="T55" fmla="*/ 2147483646 h 67"/>
                <a:gd name="T56" fmla="*/ 2147483646 w 58"/>
                <a:gd name="T57" fmla="*/ 2147483646 h 67"/>
                <a:gd name="T58" fmla="*/ 2147483646 w 58"/>
                <a:gd name="T59" fmla="*/ 2147483646 h 67"/>
                <a:gd name="T60" fmla="*/ 2147483646 w 58"/>
                <a:gd name="T61" fmla="*/ 2147483646 h 67"/>
                <a:gd name="T62" fmla="*/ 2147483646 w 58"/>
                <a:gd name="T63" fmla="*/ 2147483646 h 67"/>
                <a:gd name="T64" fmla="*/ 2147483646 w 58"/>
                <a:gd name="T65" fmla="*/ 2147483646 h 67"/>
                <a:gd name="T66" fmla="*/ 2147483646 w 58"/>
                <a:gd name="T67" fmla="*/ 2147483646 h 67"/>
                <a:gd name="T68" fmla="*/ 2147483646 w 58"/>
                <a:gd name="T69" fmla="*/ 2147483646 h 67"/>
                <a:gd name="T70" fmla="*/ 2147483646 w 58"/>
                <a:gd name="T71" fmla="*/ 2147483646 h 67"/>
                <a:gd name="T72" fmla="*/ 2147483646 w 58"/>
                <a:gd name="T73" fmla="*/ 2147483646 h 6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8" h="67">
                  <a:moveTo>
                    <a:pt x="53" y="34"/>
                  </a:moveTo>
                  <a:lnTo>
                    <a:pt x="54" y="37"/>
                  </a:lnTo>
                  <a:lnTo>
                    <a:pt x="57" y="44"/>
                  </a:lnTo>
                  <a:lnTo>
                    <a:pt x="58" y="53"/>
                  </a:lnTo>
                  <a:lnTo>
                    <a:pt x="57" y="60"/>
                  </a:lnTo>
                  <a:lnTo>
                    <a:pt x="54" y="64"/>
                  </a:lnTo>
                  <a:lnTo>
                    <a:pt x="52" y="66"/>
                  </a:lnTo>
                  <a:lnTo>
                    <a:pt x="48" y="67"/>
                  </a:lnTo>
                  <a:lnTo>
                    <a:pt x="44" y="65"/>
                  </a:lnTo>
                  <a:lnTo>
                    <a:pt x="39" y="62"/>
                  </a:lnTo>
                  <a:lnTo>
                    <a:pt x="35" y="60"/>
                  </a:lnTo>
                  <a:lnTo>
                    <a:pt x="32" y="58"/>
                  </a:lnTo>
                  <a:lnTo>
                    <a:pt x="29" y="53"/>
                  </a:lnTo>
                  <a:lnTo>
                    <a:pt x="24" y="50"/>
                  </a:lnTo>
                  <a:lnTo>
                    <a:pt x="17" y="49"/>
                  </a:lnTo>
                  <a:lnTo>
                    <a:pt x="12" y="47"/>
                  </a:lnTo>
                  <a:lnTo>
                    <a:pt x="8" y="42"/>
                  </a:lnTo>
                  <a:lnTo>
                    <a:pt x="9" y="37"/>
                  </a:lnTo>
                  <a:lnTo>
                    <a:pt x="13" y="37"/>
                  </a:lnTo>
                  <a:lnTo>
                    <a:pt x="15" y="36"/>
                  </a:lnTo>
                  <a:lnTo>
                    <a:pt x="13" y="30"/>
                  </a:lnTo>
                  <a:lnTo>
                    <a:pt x="7" y="20"/>
                  </a:lnTo>
                  <a:lnTo>
                    <a:pt x="2" y="11"/>
                  </a:lnTo>
                  <a:lnTo>
                    <a:pt x="0" y="4"/>
                  </a:lnTo>
                  <a:lnTo>
                    <a:pt x="4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8"/>
                  </a:lnTo>
                  <a:lnTo>
                    <a:pt x="28" y="13"/>
                  </a:lnTo>
                  <a:lnTo>
                    <a:pt x="34" y="15"/>
                  </a:lnTo>
                  <a:lnTo>
                    <a:pt x="38" y="16"/>
                  </a:lnTo>
                  <a:lnTo>
                    <a:pt x="40" y="19"/>
                  </a:lnTo>
                  <a:lnTo>
                    <a:pt x="43" y="24"/>
                  </a:lnTo>
                  <a:lnTo>
                    <a:pt x="47" y="29"/>
                  </a:lnTo>
                  <a:lnTo>
                    <a:pt x="51" y="32"/>
                  </a:lnTo>
                  <a:lnTo>
                    <a:pt x="53" y="3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9" name="Freeform 443"/>
            <p:cNvSpPr>
              <a:spLocks/>
            </p:cNvSpPr>
            <p:nvPr/>
          </p:nvSpPr>
          <p:spPr bwMode="auto">
            <a:xfrm>
              <a:off x="2017704" y="2047401"/>
              <a:ext cx="248487" cy="222862"/>
            </a:xfrm>
            <a:custGeom>
              <a:avLst/>
              <a:gdLst>
                <a:gd name="T0" fmla="*/ 2147483646 w 249"/>
                <a:gd name="T1" fmla="*/ 2147483646 h 231"/>
                <a:gd name="T2" fmla="*/ 2147483646 w 249"/>
                <a:gd name="T3" fmla="*/ 2147483646 h 231"/>
                <a:gd name="T4" fmla="*/ 2147483646 w 249"/>
                <a:gd name="T5" fmla="*/ 2147483646 h 231"/>
                <a:gd name="T6" fmla="*/ 2147483646 w 249"/>
                <a:gd name="T7" fmla="*/ 2147483646 h 231"/>
                <a:gd name="T8" fmla="*/ 2147483646 w 249"/>
                <a:gd name="T9" fmla="*/ 2147483646 h 231"/>
                <a:gd name="T10" fmla="*/ 2147483646 w 249"/>
                <a:gd name="T11" fmla="*/ 2147483646 h 231"/>
                <a:gd name="T12" fmla="*/ 2147483646 w 249"/>
                <a:gd name="T13" fmla="*/ 2147483646 h 231"/>
                <a:gd name="T14" fmla="*/ 2147483646 w 249"/>
                <a:gd name="T15" fmla="*/ 2147483646 h 231"/>
                <a:gd name="T16" fmla="*/ 2147483646 w 249"/>
                <a:gd name="T17" fmla="*/ 2147483646 h 231"/>
                <a:gd name="T18" fmla="*/ 2147483646 w 249"/>
                <a:gd name="T19" fmla="*/ 2147483646 h 231"/>
                <a:gd name="T20" fmla="*/ 2147483646 w 249"/>
                <a:gd name="T21" fmla="*/ 2147483646 h 231"/>
                <a:gd name="T22" fmla="*/ 2147483646 w 249"/>
                <a:gd name="T23" fmla="*/ 2147483646 h 231"/>
                <a:gd name="T24" fmla="*/ 2147483646 w 249"/>
                <a:gd name="T25" fmla="*/ 2147483646 h 231"/>
                <a:gd name="T26" fmla="*/ 2147483646 w 249"/>
                <a:gd name="T27" fmla="*/ 2147483646 h 231"/>
                <a:gd name="T28" fmla="*/ 2147483646 w 249"/>
                <a:gd name="T29" fmla="*/ 2147483646 h 231"/>
                <a:gd name="T30" fmla="*/ 2147483646 w 249"/>
                <a:gd name="T31" fmla="*/ 2147483646 h 231"/>
                <a:gd name="T32" fmla="*/ 2147483646 w 249"/>
                <a:gd name="T33" fmla="*/ 2147483646 h 231"/>
                <a:gd name="T34" fmla="*/ 2147483646 w 249"/>
                <a:gd name="T35" fmla="*/ 2147483646 h 231"/>
                <a:gd name="T36" fmla="*/ 2147483646 w 249"/>
                <a:gd name="T37" fmla="*/ 2147483646 h 231"/>
                <a:gd name="T38" fmla="*/ 2147483646 w 249"/>
                <a:gd name="T39" fmla="*/ 2147483646 h 231"/>
                <a:gd name="T40" fmla="*/ 2147483646 w 249"/>
                <a:gd name="T41" fmla="*/ 2147483646 h 231"/>
                <a:gd name="T42" fmla="*/ 2147483646 w 249"/>
                <a:gd name="T43" fmla="*/ 2147483646 h 231"/>
                <a:gd name="T44" fmla="*/ 2147483646 w 249"/>
                <a:gd name="T45" fmla="*/ 2147483646 h 231"/>
                <a:gd name="T46" fmla="*/ 2147483646 w 249"/>
                <a:gd name="T47" fmla="*/ 2147483646 h 231"/>
                <a:gd name="T48" fmla="*/ 2147483646 w 249"/>
                <a:gd name="T49" fmla="*/ 2147483646 h 231"/>
                <a:gd name="T50" fmla="*/ 2147483646 w 249"/>
                <a:gd name="T51" fmla="*/ 2147483646 h 231"/>
                <a:gd name="T52" fmla="*/ 2147483646 w 249"/>
                <a:gd name="T53" fmla="*/ 2147483646 h 231"/>
                <a:gd name="T54" fmla="*/ 2147483646 w 249"/>
                <a:gd name="T55" fmla="*/ 2147483646 h 231"/>
                <a:gd name="T56" fmla="*/ 2147483646 w 249"/>
                <a:gd name="T57" fmla="*/ 2147483646 h 231"/>
                <a:gd name="T58" fmla="*/ 2147483646 w 249"/>
                <a:gd name="T59" fmla="*/ 2147483646 h 231"/>
                <a:gd name="T60" fmla="*/ 2147483646 w 249"/>
                <a:gd name="T61" fmla="*/ 2147483646 h 231"/>
                <a:gd name="T62" fmla="*/ 2147483646 w 249"/>
                <a:gd name="T63" fmla="*/ 2147483646 h 231"/>
                <a:gd name="T64" fmla="*/ 2147483646 w 249"/>
                <a:gd name="T65" fmla="*/ 2147483646 h 231"/>
                <a:gd name="T66" fmla="*/ 2147483646 w 249"/>
                <a:gd name="T67" fmla="*/ 2147483646 h 231"/>
                <a:gd name="T68" fmla="*/ 2147483646 w 249"/>
                <a:gd name="T69" fmla="*/ 2147483646 h 231"/>
                <a:gd name="T70" fmla="*/ 2147483646 w 249"/>
                <a:gd name="T71" fmla="*/ 2147483646 h 231"/>
                <a:gd name="T72" fmla="*/ 2147483646 w 249"/>
                <a:gd name="T73" fmla="*/ 2147483646 h 231"/>
                <a:gd name="T74" fmla="*/ 2147483646 w 249"/>
                <a:gd name="T75" fmla="*/ 2147483646 h 231"/>
                <a:gd name="T76" fmla="*/ 2147483646 w 249"/>
                <a:gd name="T77" fmla="*/ 2147483646 h 231"/>
                <a:gd name="T78" fmla="*/ 2147483646 w 249"/>
                <a:gd name="T79" fmla="*/ 2147483646 h 231"/>
                <a:gd name="T80" fmla="*/ 2147483646 w 249"/>
                <a:gd name="T81" fmla="*/ 2147483646 h 231"/>
                <a:gd name="T82" fmla="*/ 2147483646 w 249"/>
                <a:gd name="T83" fmla="*/ 2147483646 h 231"/>
                <a:gd name="T84" fmla="*/ 2147483646 w 249"/>
                <a:gd name="T85" fmla="*/ 2147483646 h 231"/>
                <a:gd name="T86" fmla="*/ 2147483646 w 249"/>
                <a:gd name="T87" fmla="*/ 2147483646 h 231"/>
                <a:gd name="T88" fmla="*/ 2147483646 w 249"/>
                <a:gd name="T89" fmla="*/ 2147483646 h 231"/>
                <a:gd name="T90" fmla="*/ 2147483646 w 249"/>
                <a:gd name="T91" fmla="*/ 2147483646 h 231"/>
                <a:gd name="T92" fmla="*/ 2147483646 w 249"/>
                <a:gd name="T93" fmla="*/ 2147483646 h 231"/>
                <a:gd name="T94" fmla="*/ 2147483646 w 249"/>
                <a:gd name="T95" fmla="*/ 2147483646 h 231"/>
                <a:gd name="T96" fmla="*/ 2147483646 w 249"/>
                <a:gd name="T97" fmla="*/ 2147483646 h 23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49" h="231">
                  <a:moveTo>
                    <a:pt x="239" y="162"/>
                  </a:moveTo>
                  <a:lnTo>
                    <a:pt x="241" y="164"/>
                  </a:lnTo>
                  <a:lnTo>
                    <a:pt x="246" y="168"/>
                  </a:lnTo>
                  <a:lnTo>
                    <a:pt x="249" y="175"/>
                  </a:lnTo>
                  <a:lnTo>
                    <a:pt x="248" y="182"/>
                  </a:lnTo>
                  <a:lnTo>
                    <a:pt x="244" y="187"/>
                  </a:lnTo>
                  <a:lnTo>
                    <a:pt x="239" y="188"/>
                  </a:lnTo>
                  <a:lnTo>
                    <a:pt x="236" y="187"/>
                  </a:lnTo>
                  <a:lnTo>
                    <a:pt x="232" y="187"/>
                  </a:lnTo>
                  <a:lnTo>
                    <a:pt x="229" y="187"/>
                  </a:lnTo>
                  <a:lnTo>
                    <a:pt x="226" y="187"/>
                  </a:lnTo>
                  <a:lnTo>
                    <a:pt x="226" y="189"/>
                  </a:lnTo>
                  <a:lnTo>
                    <a:pt x="228" y="195"/>
                  </a:lnTo>
                  <a:lnTo>
                    <a:pt x="230" y="204"/>
                  </a:lnTo>
                  <a:lnTo>
                    <a:pt x="232" y="213"/>
                  </a:lnTo>
                  <a:lnTo>
                    <a:pt x="231" y="220"/>
                  </a:lnTo>
                  <a:lnTo>
                    <a:pt x="224" y="225"/>
                  </a:lnTo>
                  <a:lnTo>
                    <a:pt x="216" y="227"/>
                  </a:lnTo>
                  <a:lnTo>
                    <a:pt x="211" y="230"/>
                  </a:lnTo>
                  <a:lnTo>
                    <a:pt x="205" y="231"/>
                  </a:lnTo>
                  <a:lnTo>
                    <a:pt x="195" y="225"/>
                  </a:lnTo>
                  <a:lnTo>
                    <a:pt x="190" y="220"/>
                  </a:lnTo>
                  <a:lnTo>
                    <a:pt x="184" y="215"/>
                  </a:lnTo>
                  <a:lnTo>
                    <a:pt x="178" y="210"/>
                  </a:lnTo>
                  <a:lnTo>
                    <a:pt x="173" y="205"/>
                  </a:lnTo>
                  <a:lnTo>
                    <a:pt x="170" y="202"/>
                  </a:lnTo>
                  <a:lnTo>
                    <a:pt x="165" y="198"/>
                  </a:lnTo>
                  <a:lnTo>
                    <a:pt x="163" y="196"/>
                  </a:lnTo>
                  <a:lnTo>
                    <a:pt x="161" y="195"/>
                  </a:lnTo>
                  <a:lnTo>
                    <a:pt x="158" y="194"/>
                  </a:lnTo>
                  <a:lnTo>
                    <a:pt x="157" y="194"/>
                  </a:lnTo>
                  <a:lnTo>
                    <a:pt x="154" y="196"/>
                  </a:lnTo>
                  <a:lnTo>
                    <a:pt x="146" y="202"/>
                  </a:lnTo>
                  <a:lnTo>
                    <a:pt x="140" y="206"/>
                  </a:lnTo>
                  <a:lnTo>
                    <a:pt x="132" y="210"/>
                  </a:lnTo>
                  <a:lnTo>
                    <a:pt x="123" y="213"/>
                  </a:lnTo>
                  <a:lnTo>
                    <a:pt x="114" y="216"/>
                  </a:lnTo>
                  <a:lnTo>
                    <a:pt x="104" y="219"/>
                  </a:lnTo>
                  <a:lnTo>
                    <a:pt x="95" y="220"/>
                  </a:lnTo>
                  <a:lnTo>
                    <a:pt x="89" y="221"/>
                  </a:lnTo>
                  <a:lnTo>
                    <a:pt x="85" y="223"/>
                  </a:lnTo>
                  <a:lnTo>
                    <a:pt x="81" y="223"/>
                  </a:lnTo>
                  <a:lnTo>
                    <a:pt x="78" y="223"/>
                  </a:lnTo>
                  <a:lnTo>
                    <a:pt x="73" y="221"/>
                  </a:lnTo>
                  <a:lnTo>
                    <a:pt x="67" y="219"/>
                  </a:lnTo>
                  <a:lnTo>
                    <a:pt x="62" y="218"/>
                  </a:lnTo>
                  <a:lnTo>
                    <a:pt x="57" y="216"/>
                  </a:lnTo>
                  <a:lnTo>
                    <a:pt x="52" y="215"/>
                  </a:lnTo>
                  <a:lnTo>
                    <a:pt x="49" y="215"/>
                  </a:lnTo>
                  <a:lnTo>
                    <a:pt x="46" y="213"/>
                  </a:lnTo>
                  <a:lnTo>
                    <a:pt x="44" y="210"/>
                  </a:lnTo>
                  <a:lnTo>
                    <a:pt x="44" y="204"/>
                  </a:lnTo>
                  <a:lnTo>
                    <a:pt x="43" y="197"/>
                  </a:lnTo>
                  <a:lnTo>
                    <a:pt x="40" y="188"/>
                  </a:lnTo>
                  <a:lnTo>
                    <a:pt x="33" y="180"/>
                  </a:lnTo>
                  <a:lnTo>
                    <a:pt x="25" y="173"/>
                  </a:lnTo>
                  <a:lnTo>
                    <a:pt x="16" y="167"/>
                  </a:lnTo>
                  <a:lnTo>
                    <a:pt x="9" y="164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0" y="151"/>
                  </a:lnTo>
                  <a:lnTo>
                    <a:pt x="0" y="143"/>
                  </a:lnTo>
                  <a:lnTo>
                    <a:pt x="0" y="136"/>
                  </a:lnTo>
                  <a:lnTo>
                    <a:pt x="1" y="130"/>
                  </a:lnTo>
                  <a:lnTo>
                    <a:pt x="5" y="129"/>
                  </a:lnTo>
                  <a:lnTo>
                    <a:pt x="12" y="129"/>
                  </a:lnTo>
                  <a:lnTo>
                    <a:pt x="20" y="128"/>
                  </a:lnTo>
                  <a:lnTo>
                    <a:pt x="27" y="129"/>
                  </a:lnTo>
                  <a:lnTo>
                    <a:pt x="36" y="132"/>
                  </a:lnTo>
                  <a:lnTo>
                    <a:pt x="42" y="135"/>
                  </a:lnTo>
                  <a:lnTo>
                    <a:pt x="49" y="138"/>
                  </a:lnTo>
                  <a:lnTo>
                    <a:pt x="57" y="142"/>
                  </a:lnTo>
                  <a:lnTo>
                    <a:pt x="65" y="147"/>
                  </a:lnTo>
                  <a:lnTo>
                    <a:pt x="72" y="149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5" y="149"/>
                  </a:lnTo>
                  <a:lnTo>
                    <a:pt x="86" y="141"/>
                  </a:lnTo>
                  <a:lnTo>
                    <a:pt x="86" y="133"/>
                  </a:lnTo>
                  <a:lnTo>
                    <a:pt x="81" y="126"/>
                  </a:lnTo>
                  <a:lnTo>
                    <a:pt x="69" y="121"/>
                  </a:lnTo>
                  <a:lnTo>
                    <a:pt x="56" y="118"/>
                  </a:lnTo>
                  <a:lnTo>
                    <a:pt x="50" y="117"/>
                  </a:lnTo>
                  <a:lnTo>
                    <a:pt x="44" y="117"/>
                  </a:lnTo>
                  <a:lnTo>
                    <a:pt x="35" y="115"/>
                  </a:lnTo>
                  <a:lnTo>
                    <a:pt x="24" y="115"/>
                  </a:lnTo>
                  <a:lnTo>
                    <a:pt x="17" y="115"/>
                  </a:lnTo>
                  <a:lnTo>
                    <a:pt x="12" y="114"/>
                  </a:lnTo>
                  <a:lnTo>
                    <a:pt x="8" y="111"/>
                  </a:lnTo>
                  <a:lnTo>
                    <a:pt x="3" y="104"/>
                  </a:lnTo>
                  <a:lnTo>
                    <a:pt x="2" y="96"/>
                  </a:lnTo>
                  <a:lnTo>
                    <a:pt x="2" y="90"/>
                  </a:lnTo>
                  <a:lnTo>
                    <a:pt x="4" y="86"/>
                  </a:lnTo>
                  <a:lnTo>
                    <a:pt x="11" y="84"/>
                  </a:lnTo>
                  <a:lnTo>
                    <a:pt x="20" y="86"/>
                  </a:lnTo>
                  <a:lnTo>
                    <a:pt x="28" y="84"/>
                  </a:lnTo>
                  <a:lnTo>
                    <a:pt x="29" y="79"/>
                  </a:lnTo>
                  <a:lnTo>
                    <a:pt x="26" y="73"/>
                  </a:lnTo>
                  <a:lnTo>
                    <a:pt x="23" y="71"/>
                  </a:lnTo>
                  <a:lnTo>
                    <a:pt x="19" y="68"/>
                  </a:lnTo>
                  <a:lnTo>
                    <a:pt x="13" y="62"/>
                  </a:lnTo>
                  <a:lnTo>
                    <a:pt x="8" y="54"/>
                  </a:lnTo>
                  <a:lnTo>
                    <a:pt x="3" y="49"/>
                  </a:lnTo>
                  <a:lnTo>
                    <a:pt x="3" y="44"/>
                  </a:lnTo>
                  <a:lnTo>
                    <a:pt x="8" y="39"/>
                  </a:lnTo>
                  <a:lnTo>
                    <a:pt x="14" y="37"/>
                  </a:lnTo>
                  <a:lnTo>
                    <a:pt x="19" y="35"/>
                  </a:lnTo>
                  <a:lnTo>
                    <a:pt x="21" y="33"/>
                  </a:lnTo>
                  <a:lnTo>
                    <a:pt x="24" y="27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5"/>
                  </a:lnTo>
                  <a:lnTo>
                    <a:pt x="33" y="14"/>
                  </a:lnTo>
                  <a:lnTo>
                    <a:pt x="40" y="13"/>
                  </a:lnTo>
                  <a:lnTo>
                    <a:pt x="46" y="9"/>
                  </a:lnTo>
                  <a:lnTo>
                    <a:pt x="51" y="7"/>
                  </a:lnTo>
                  <a:lnTo>
                    <a:pt x="61" y="5"/>
                  </a:lnTo>
                  <a:lnTo>
                    <a:pt x="72" y="3"/>
                  </a:lnTo>
                  <a:lnTo>
                    <a:pt x="81" y="0"/>
                  </a:lnTo>
                  <a:lnTo>
                    <a:pt x="88" y="3"/>
                  </a:lnTo>
                  <a:lnTo>
                    <a:pt x="88" y="9"/>
                  </a:lnTo>
                  <a:lnTo>
                    <a:pt x="85" y="18"/>
                  </a:lnTo>
                  <a:lnTo>
                    <a:pt x="81" y="23"/>
                  </a:lnTo>
                  <a:lnTo>
                    <a:pt x="82" y="27"/>
                  </a:lnTo>
                  <a:lnTo>
                    <a:pt x="88" y="26"/>
                  </a:lnTo>
                  <a:lnTo>
                    <a:pt x="95" y="23"/>
                  </a:lnTo>
                  <a:lnTo>
                    <a:pt x="100" y="24"/>
                  </a:lnTo>
                  <a:lnTo>
                    <a:pt x="102" y="27"/>
                  </a:lnTo>
                  <a:lnTo>
                    <a:pt x="104" y="34"/>
                  </a:lnTo>
                  <a:lnTo>
                    <a:pt x="110" y="41"/>
                  </a:lnTo>
                  <a:lnTo>
                    <a:pt x="117" y="46"/>
                  </a:lnTo>
                  <a:lnTo>
                    <a:pt x="124" y="47"/>
                  </a:lnTo>
                  <a:lnTo>
                    <a:pt x="127" y="45"/>
                  </a:lnTo>
                  <a:lnTo>
                    <a:pt x="127" y="38"/>
                  </a:lnTo>
                  <a:lnTo>
                    <a:pt x="126" y="31"/>
                  </a:lnTo>
                  <a:lnTo>
                    <a:pt x="125" y="27"/>
                  </a:lnTo>
                  <a:lnTo>
                    <a:pt x="129" y="27"/>
                  </a:lnTo>
                  <a:lnTo>
                    <a:pt x="134" y="33"/>
                  </a:lnTo>
                  <a:lnTo>
                    <a:pt x="140" y="39"/>
                  </a:lnTo>
                  <a:lnTo>
                    <a:pt x="145" y="47"/>
                  </a:lnTo>
                  <a:lnTo>
                    <a:pt x="146" y="58"/>
                  </a:lnTo>
                  <a:lnTo>
                    <a:pt x="147" y="69"/>
                  </a:lnTo>
                  <a:lnTo>
                    <a:pt x="148" y="80"/>
                  </a:lnTo>
                  <a:lnTo>
                    <a:pt x="152" y="83"/>
                  </a:lnTo>
                  <a:lnTo>
                    <a:pt x="155" y="75"/>
                  </a:lnTo>
                  <a:lnTo>
                    <a:pt x="158" y="64"/>
                  </a:lnTo>
                  <a:lnTo>
                    <a:pt x="161" y="57"/>
                  </a:lnTo>
                  <a:lnTo>
                    <a:pt x="162" y="51"/>
                  </a:lnTo>
                  <a:lnTo>
                    <a:pt x="160" y="46"/>
                  </a:lnTo>
                  <a:lnTo>
                    <a:pt x="157" y="39"/>
                  </a:lnTo>
                  <a:lnTo>
                    <a:pt x="156" y="33"/>
                  </a:lnTo>
                  <a:lnTo>
                    <a:pt x="157" y="27"/>
                  </a:lnTo>
                  <a:lnTo>
                    <a:pt x="160" y="22"/>
                  </a:lnTo>
                  <a:lnTo>
                    <a:pt x="164" y="20"/>
                  </a:lnTo>
                  <a:lnTo>
                    <a:pt x="169" y="21"/>
                  </a:lnTo>
                  <a:lnTo>
                    <a:pt x="173" y="23"/>
                  </a:lnTo>
                  <a:lnTo>
                    <a:pt x="179" y="26"/>
                  </a:lnTo>
                  <a:lnTo>
                    <a:pt x="181" y="24"/>
                  </a:lnTo>
                  <a:lnTo>
                    <a:pt x="183" y="22"/>
                  </a:lnTo>
                  <a:lnTo>
                    <a:pt x="181" y="19"/>
                  </a:lnTo>
                  <a:lnTo>
                    <a:pt x="181" y="18"/>
                  </a:lnTo>
                  <a:lnTo>
                    <a:pt x="179" y="15"/>
                  </a:lnTo>
                  <a:lnTo>
                    <a:pt x="175" y="11"/>
                  </a:lnTo>
                  <a:lnTo>
                    <a:pt x="172" y="7"/>
                  </a:lnTo>
                  <a:lnTo>
                    <a:pt x="179" y="5"/>
                  </a:lnTo>
                  <a:lnTo>
                    <a:pt x="185" y="5"/>
                  </a:lnTo>
                  <a:lnTo>
                    <a:pt x="192" y="5"/>
                  </a:lnTo>
                  <a:lnTo>
                    <a:pt x="198" y="5"/>
                  </a:lnTo>
                  <a:lnTo>
                    <a:pt x="203" y="6"/>
                  </a:lnTo>
                  <a:lnTo>
                    <a:pt x="208" y="8"/>
                  </a:lnTo>
                  <a:lnTo>
                    <a:pt x="211" y="11"/>
                  </a:lnTo>
                  <a:lnTo>
                    <a:pt x="213" y="15"/>
                  </a:lnTo>
                  <a:lnTo>
                    <a:pt x="211" y="21"/>
                  </a:lnTo>
                  <a:lnTo>
                    <a:pt x="207" y="31"/>
                  </a:lnTo>
                  <a:lnTo>
                    <a:pt x="203" y="37"/>
                  </a:lnTo>
                  <a:lnTo>
                    <a:pt x="199" y="39"/>
                  </a:lnTo>
                  <a:lnTo>
                    <a:pt x="195" y="42"/>
                  </a:lnTo>
                  <a:lnTo>
                    <a:pt x="192" y="45"/>
                  </a:lnTo>
                  <a:lnTo>
                    <a:pt x="193" y="52"/>
                  </a:lnTo>
                  <a:lnTo>
                    <a:pt x="195" y="60"/>
                  </a:lnTo>
                  <a:lnTo>
                    <a:pt x="196" y="69"/>
                  </a:lnTo>
                  <a:lnTo>
                    <a:pt x="198" y="79"/>
                  </a:lnTo>
                  <a:lnTo>
                    <a:pt x="199" y="89"/>
                  </a:lnTo>
                  <a:lnTo>
                    <a:pt x="201" y="98"/>
                  </a:lnTo>
                  <a:lnTo>
                    <a:pt x="201" y="105"/>
                  </a:lnTo>
                  <a:lnTo>
                    <a:pt x="200" y="110"/>
                  </a:lnTo>
                  <a:lnTo>
                    <a:pt x="199" y="112"/>
                  </a:lnTo>
                  <a:lnTo>
                    <a:pt x="198" y="115"/>
                  </a:lnTo>
                  <a:lnTo>
                    <a:pt x="198" y="122"/>
                  </a:lnTo>
                  <a:lnTo>
                    <a:pt x="201" y="130"/>
                  </a:lnTo>
                  <a:lnTo>
                    <a:pt x="205" y="136"/>
                  </a:lnTo>
                  <a:lnTo>
                    <a:pt x="209" y="141"/>
                  </a:lnTo>
                  <a:lnTo>
                    <a:pt x="216" y="147"/>
                  </a:lnTo>
                  <a:lnTo>
                    <a:pt x="224" y="153"/>
                  </a:lnTo>
                  <a:lnTo>
                    <a:pt x="231" y="158"/>
                  </a:lnTo>
                  <a:lnTo>
                    <a:pt x="237" y="160"/>
                  </a:lnTo>
                  <a:lnTo>
                    <a:pt x="239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0" name="Freeform 445"/>
            <p:cNvSpPr>
              <a:spLocks/>
            </p:cNvSpPr>
            <p:nvPr/>
          </p:nvSpPr>
          <p:spPr bwMode="auto">
            <a:xfrm>
              <a:off x="2964877" y="4072731"/>
              <a:ext cx="33618" cy="18070"/>
            </a:xfrm>
            <a:custGeom>
              <a:avLst/>
              <a:gdLst>
                <a:gd name="T0" fmla="*/ 2147483646 w 23"/>
                <a:gd name="T1" fmla="*/ 0 h 18"/>
                <a:gd name="T2" fmla="*/ 2147483646 w 23"/>
                <a:gd name="T3" fmla="*/ 2147483646 h 18"/>
                <a:gd name="T4" fmla="*/ 2147483646 w 23"/>
                <a:gd name="T5" fmla="*/ 2147483646 h 18"/>
                <a:gd name="T6" fmla="*/ 0 w 23"/>
                <a:gd name="T7" fmla="*/ 2147483646 h 18"/>
                <a:gd name="T8" fmla="*/ 2147483646 w 2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" h="18">
                  <a:moveTo>
                    <a:pt x="2" y="0"/>
                  </a:moveTo>
                  <a:lnTo>
                    <a:pt x="23" y="1"/>
                  </a:lnTo>
                  <a:lnTo>
                    <a:pt x="21" y="18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1" name="Freeform 450"/>
            <p:cNvSpPr>
              <a:spLocks/>
            </p:cNvSpPr>
            <p:nvPr/>
          </p:nvSpPr>
          <p:spPr bwMode="auto">
            <a:xfrm>
              <a:off x="3925205" y="2390728"/>
              <a:ext cx="121321" cy="48186"/>
            </a:xfrm>
            <a:custGeom>
              <a:avLst/>
              <a:gdLst>
                <a:gd name="T0" fmla="*/ 2147483646 w 114"/>
                <a:gd name="T1" fmla="*/ 0 h 54"/>
                <a:gd name="T2" fmla="*/ 2147483646 w 114"/>
                <a:gd name="T3" fmla="*/ 2147483646 h 54"/>
                <a:gd name="T4" fmla="*/ 2147483646 w 114"/>
                <a:gd name="T5" fmla="*/ 2147483646 h 54"/>
                <a:gd name="T6" fmla="*/ 2147483646 w 114"/>
                <a:gd name="T7" fmla="*/ 0 h 54"/>
                <a:gd name="T8" fmla="*/ 2147483646 w 114"/>
                <a:gd name="T9" fmla="*/ 2147483646 h 54"/>
                <a:gd name="T10" fmla="*/ 2147483646 w 114"/>
                <a:gd name="T11" fmla="*/ 2147483646 h 54"/>
                <a:gd name="T12" fmla="*/ 2147483646 w 114"/>
                <a:gd name="T13" fmla="*/ 2147483646 h 54"/>
                <a:gd name="T14" fmla="*/ 2147483646 w 114"/>
                <a:gd name="T15" fmla="*/ 2147483646 h 54"/>
                <a:gd name="T16" fmla="*/ 2147483646 w 114"/>
                <a:gd name="T17" fmla="*/ 2147483646 h 54"/>
                <a:gd name="T18" fmla="*/ 2147483646 w 114"/>
                <a:gd name="T19" fmla="*/ 2147483646 h 54"/>
                <a:gd name="T20" fmla="*/ 2147483646 w 114"/>
                <a:gd name="T21" fmla="*/ 2147483646 h 54"/>
                <a:gd name="T22" fmla="*/ 0 w 114"/>
                <a:gd name="T23" fmla="*/ 2147483646 h 54"/>
                <a:gd name="T24" fmla="*/ 2147483646 w 114"/>
                <a:gd name="T25" fmla="*/ 0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4" h="54">
                  <a:moveTo>
                    <a:pt x="14" y="0"/>
                  </a:moveTo>
                  <a:lnTo>
                    <a:pt x="26" y="14"/>
                  </a:lnTo>
                  <a:lnTo>
                    <a:pt x="54" y="4"/>
                  </a:lnTo>
                  <a:lnTo>
                    <a:pt x="88" y="0"/>
                  </a:lnTo>
                  <a:lnTo>
                    <a:pt x="114" y="18"/>
                  </a:lnTo>
                  <a:lnTo>
                    <a:pt x="96" y="38"/>
                  </a:lnTo>
                  <a:lnTo>
                    <a:pt x="68" y="54"/>
                  </a:lnTo>
                  <a:lnTo>
                    <a:pt x="30" y="42"/>
                  </a:lnTo>
                  <a:lnTo>
                    <a:pt x="10" y="44"/>
                  </a:lnTo>
                  <a:lnTo>
                    <a:pt x="26" y="36"/>
                  </a:lnTo>
                  <a:lnTo>
                    <a:pt x="16" y="22"/>
                  </a:lnTo>
                  <a:lnTo>
                    <a:pt x="0" y="16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2" name="Freeform 451"/>
            <p:cNvSpPr>
              <a:spLocks/>
            </p:cNvSpPr>
            <p:nvPr/>
          </p:nvSpPr>
          <p:spPr bwMode="auto">
            <a:xfrm>
              <a:off x="7604273" y="4414554"/>
              <a:ext cx="198789" cy="176181"/>
            </a:xfrm>
            <a:custGeom>
              <a:avLst/>
              <a:gdLst>
                <a:gd name="T0" fmla="*/ 2147483646 w 575"/>
                <a:gd name="T1" fmla="*/ 2147483646 h 488"/>
                <a:gd name="T2" fmla="*/ 2147483646 w 575"/>
                <a:gd name="T3" fmla="*/ 2147483646 h 488"/>
                <a:gd name="T4" fmla="*/ 2147483646 w 575"/>
                <a:gd name="T5" fmla="*/ 2147483646 h 488"/>
                <a:gd name="T6" fmla="*/ 2147483646 w 575"/>
                <a:gd name="T7" fmla="*/ 2147483646 h 488"/>
                <a:gd name="T8" fmla="*/ 2147483646 w 575"/>
                <a:gd name="T9" fmla="*/ 0 h 488"/>
                <a:gd name="T10" fmla="*/ 2147483646 w 575"/>
                <a:gd name="T11" fmla="*/ 2147483646 h 488"/>
                <a:gd name="T12" fmla="*/ 0 w 575"/>
                <a:gd name="T13" fmla="*/ 2147483646 h 488"/>
                <a:gd name="T14" fmla="*/ 2147483646 w 575"/>
                <a:gd name="T15" fmla="*/ 2147483646 h 488"/>
                <a:gd name="T16" fmla="*/ 2147483646 w 575"/>
                <a:gd name="T17" fmla="*/ 2147483646 h 488"/>
                <a:gd name="T18" fmla="*/ 2147483646 w 575"/>
                <a:gd name="T19" fmla="*/ 2147483646 h 488"/>
                <a:gd name="T20" fmla="*/ 2147483646 w 575"/>
                <a:gd name="T21" fmla="*/ 2147483646 h 488"/>
                <a:gd name="T22" fmla="*/ 2147483646 w 575"/>
                <a:gd name="T23" fmla="*/ 2147483646 h 488"/>
                <a:gd name="T24" fmla="*/ 2147483646 w 575"/>
                <a:gd name="T25" fmla="*/ 2147483646 h 488"/>
                <a:gd name="T26" fmla="*/ 2147483646 w 575"/>
                <a:gd name="T27" fmla="*/ 2147483646 h 488"/>
                <a:gd name="T28" fmla="*/ 2147483646 w 575"/>
                <a:gd name="T29" fmla="*/ 2147483646 h 488"/>
                <a:gd name="T30" fmla="*/ 2147483646 w 575"/>
                <a:gd name="T31" fmla="*/ 2147483646 h 488"/>
                <a:gd name="T32" fmla="*/ 2147483646 w 575"/>
                <a:gd name="T33" fmla="*/ 2147483646 h 488"/>
                <a:gd name="T34" fmla="*/ 2147483646 w 575"/>
                <a:gd name="T35" fmla="*/ 2147483646 h 488"/>
                <a:gd name="T36" fmla="*/ 2147483646 w 575"/>
                <a:gd name="T37" fmla="*/ 2147483646 h 488"/>
                <a:gd name="T38" fmla="*/ 2147483646 w 575"/>
                <a:gd name="T39" fmla="*/ 2147483646 h 488"/>
                <a:gd name="T40" fmla="*/ 2147483646 w 575"/>
                <a:gd name="T41" fmla="*/ 2147483646 h 4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75" h="488">
                  <a:moveTo>
                    <a:pt x="410" y="71"/>
                  </a:moveTo>
                  <a:lnTo>
                    <a:pt x="321" y="142"/>
                  </a:lnTo>
                  <a:lnTo>
                    <a:pt x="233" y="142"/>
                  </a:lnTo>
                  <a:lnTo>
                    <a:pt x="178" y="71"/>
                  </a:lnTo>
                  <a:lnTo>
                    <a:pt x="107" y="0"/>
                  </a:lnTo>
                  <a:lnTo>
                    <a:pt x="36" y="19"/>
                  </a:lnTo>
                  <a:lnTo>
                    <a:pt x="0" y="90"/>
                  </a:lnTo>
                  <a:lnTo>
                    <a:pt x="72" y="124"/>
                  </a:lnTo>
                  <a:lnTo>
                    <a:pt x="89" y="159"/>
                  </a:lnTo>
                  <a:lnTo>
                    <a:pt x="107" y="213"/>
                  </a:lnTo>
                  <a:lnTo>
                    <a:pt x="160" y="213"/>
                  </a:lnTo>
                  <a:lnTo>
                    <a:pt x="197" y="230"/>
                  </a:lnTo>
                  <a:lnTo>
                    <a:pt x="321" y="283"/>
                  </a:lnTo>
                  <a:lnTo>
                    <a:pt x="446" y="353"/>
                  </a:lnTo>
                  <a:lnTo>
                    <a:pt x="465" y="389"/>
                  </a:lnTo>
                  <a:lnTo>
                    <a:pt x="393" y="424"/>
                  </a:lnTo>
                  <a:lnTo>
                    <a:pt x="465" y="442"/>
                  </a:lnTo>
                  <a:lnTo>
                    <a:pt x="518" y="459"/>
                  </a:lnTo>
                  <a:lnTo>
                    <a:pt x="575" y="488"/>
                  </a:lnTo>
                  <a:lnTo>
                    <a:pt x="575" y="122"/>
                  </a:lnTo>
                  <a:lnTo>
                    <a:pt x="410" y="71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3" name="Freeform 452"/>
            <p:cNvSpPr>
              <a:spLocks/>
            </p:cNvSpPr>
            <p:nvPr/>
          </p:nvSpPr>
          <p:spPr bwMode="auto">
            <a:xfrm>
              <a:off x="7803062" y="4456717"/>
              <a:ext cx="160786" cy="161123"/>
            </a:xfrm>
            <a:custGeom>
              <a:avLst/>
              <a:gdLst>
                <a:gd name="T0" fmla="*/ 2147483646 w 460"/>
                <a:gd name="T1" fmla="*/ 2147483646 h 443"/>
                <a:gd name="T2" fmla="*/ 2147483646 w 460"/>
                <a:gd name="T3" fmla="*/ 2147483646 h 443"/>
                <a:gd name="T4" fmla="*/ 2147483646 w 460"/>
                <a:gd name="T5" fmla="*/ 2147483646 h 443"/>
                <a:gd name="T6" fmla="*/ 2147483646 w 460"/>
                <a:gd name="T7" fmla="*/ 2147483646 h 443"/>
                <a:gd name="T8" fmla="*/ 2147483646 w 460"/>
                <a:gd name="T9" fmla="*/ 2147483646 h 443"/>
                <a:gd name="T10" fmla="*/ 2147483646 w 460"/>
                <a:gd name="T11" fmla="*/ 2147483646 h 443"/>
                <a:gd name="T12" fmla="*/ 0 w 460"/>
                <a:gd name="T13" fmla="*/ 0 h 443"/>
                <a:gd name="T14" fmla="*/ 0 w 460"/>
                <a:gd name="T15" fmla="*/ 2147483646 h 443"/>
                <a:gd name="T16" fmla="*/ 2147483646 w 460"/>
                <a:gd name="T17" fmla="*/ 2147483646 h 443"/>
                <a:gd name="T18" fmla="*/ 2147483646 w 460"/>
                <a:gd name="T19" fmla="*/ 2147483646 h 443"/>
                <a:gd name="T20" fmla="*/ 2147483646 w 460"/>
                <a:gd name="T21" fmla="*/ 2147483646 h 443"/>
                <a:gd name="T22" fmla="*/ 2147483646 w 460"/>
                <a:gd name="T23" fmla="*/ 2147483646 h 443"/>
                <a:gd name="T24" fmla="*/ 2147483646 w 460"/>
                <a:gd name="T25" fmla="*/ 2147483646 h 443"/>
                <a:gd name="T26" fmla="*/ 2147483646 w 460"/>
                <a:gd name="T27" fmla="*/ 2147483646 h 443"/>
                <a:gd name="T28" fmla="*/ 2147483646 w 460"/>
                <a:gd name="T29" fmla="*/ 2147483646 h 443"/>
                <a:gd name="T30" fmla="*/ 2147483646 w 460"/>
                <a:gd name="T31" fmla="*/ 2147483646 h 443"/>
                <a:gd name="T32" fmla="*/ 2147483646 w 460"/>
                <a:gd name="T33" fmla="*/ 2147483646 h 4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0" h="443">
                  <a:moveTo>
                    <a:pt x="353" y="302"/>
                  </a:moveTo>
                  <a:lnTo>
                    <a:pt x="336" y="249"/>
                  </a:lnTo>
                  <a:lnTo>
                    <a:pt x="372" y="214"/>
                  </a:lnTo>
                  <a:lnTo>
                    <a:pt x="283" y="161"/>
                  </a:lnTo>
                  <a:lnTo>
                    <a:pt x="247" y="108"/>
                  </a:lnTo>
                  <a:lnTo>
                    <a:pt x="122" y="37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14" y="373"/>
                  </a:lnTo>
                  <a:lnTo>
                    <a:pt x="67" y="373"/>
                  </a:lnTo>
                  <a:lnTo>
                    <a:pt x="122" y="320"/>
                  </a:lnTo>
                  <a:lnTo>
                    <a:pt x="211" y="284"/>
                  </a:lnTo>
                  <a:lnTo>
                    <a:pt x="264" y="320"/>
                  </a:lnTo>
                  <a:lnTo>
                    <a:pt x="389" y="408"/>
                  </a:lnTo>
                  <a:lnTo>
                    <a:pt x="460" y="443"/>
                  </a:lnTo>
                  <a:lnTo>
                    <a:pt x="460" y="337"/>
                  </a:lnTo>
                  <a:lnTo>
                    <a:pt x="353" y="30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664" name="Group 453"/>
            <p:cNvGrpSpPr>
              <a:grpSpLocks/>
            </p:cNvGrpSpPr>
            <p:nvPr/>
          </p:nvGrpSpPr>
          <p:grpSpPr bwMode="auto">
            <a:xfrm>
              <a:off x="4360788" y="2759654"/>
              <a:ext cx="230947" cy="349351"/>
              <a:chOff x="2201" y="1250"/>
              <a:chExt cx="133" cy="193"/>
            </a:xfrm>
            <a:solidFill>
              <a:schemeClr val="bg1">
                <a:lumMod val="75000"/>
              </a:schemeClr>
            </a:solidFill>
          </p:grpSpPr>
          <p:sp>
            <p:nvSpPr>
              <p:cNvPr id="706" name="Freeform 454"/>
              <p:cNvSpPr>
                <a:spLocks/>
              </p:cNvSpPr>
              <p:nvPr/>
            </p:nvSpPr>
            <p:spPr bwMode="auto">
              <a:xfrm>
                <a:off x="2234" y="1250"/>
                <a:ext cx="100" cy="193"/>
              </a:xfrm>
              <a:custGeom>
                <a:avLst/>
                <a:gdLst>
                  <a:gd name="T0" fmla="*/ 9440400 w 24"/>
                  <a:gd name="T1" fmla="*/ 47783351 h 47"/>
                  <a:gd name="T2" fmla="*/ 6452554 w 24"/>
                  <a:gd name="T3" fmla="*/ 45108268 h 47"/>
                  <a:gd name="T4" fmla="*/ 15896842 w 24"/>
                  <a:gd name="T5" fmla="*/ 39536313 h 47"/>
                  <a:gd name="T6" fmla="*/ 14348229 w 24"/>
                  <a:gd name="T7" fmla="*/ 34200417 h 47"/>
                  <a:gd name="T8" fmla="*/ 12537396 w 24"/>
                  <a:gd name="T9" fmla="*/ 29909411 h 47"/>
                  <a:gd name="T10" fmla="*/ 4907846 w 24"/>
                  <a:gd name="T11" fmla="*/ 29909411 h 47"/>
                  <a:gd name="T12" fmla="*/ 6452554 w 24"/>
                  <a:gd name="T13" fmla="*/ 21911249 h 47"/>
                  <a:gd name="T14" fmla="*/ 1548613 w 24"/>
                  <a:gd name="T15" fmla="*/ 24572403 h 47"/>
                  <a:gd name="T16" fmla="*/ 0 w 24"/>
                  <a:gd name="T17" fmla="*/ 17620227 h 47"/>
                  <a:gd name="T18" fmla="*/ 0 w 24"/>
                  <a:gd name="T19" fmla="*/ 10984915 h 47"/>
                  <a:gd name="T20" fmla="*/ 1548613 w 24"/>
                  <a:gd name="T21" fmla="*/ 5335900 h 47"/>
                  <a:gd name="T22" fmla="*/ 8001163 w 24"/>
                  <a:gd name="T23" fmla="*/ 0 h 47"/>
                  <a:gd name="T24" fmla="*/ 12537396 w 24"/>
                  <a:gd name="T25" fmla="*/ 1299416 h 47"/>
                  <a:gd name="T26" fmla="*/ 10988717 w 24"/>
                  <a:gd name="T27" fmla="*/ 8328599 h 47"/>
                  <a:gd name="T28" fmla="*/ 20449358 w 24"/>
                  <a:gd name="T29" fmla="*/ 8328599 h 47"/>
                  <a:gd name="T30" fmla="*/ 17441633 w 24"/>
                  <a:gd name="T31" fmla="*/ 14963980 h 47"/>
                  <a:gd name="T32" fmla="*/ 14348229 w 24"/>
                  <a:gd name="T33" fmla="*/ 20611817 h 47"/>
                  <a:gd name="T34" fmla="*/ 20449358 w 24"/>
                  <a:gd name="T35" fmla="*/ 23210931 h 47"/>
                  <a:gd name="T36" fmla="*/ 26885642 w 24"/>
                  <a:gd name="T37" fmla="*/ 32901002 h 47"/>
                  <a:gd name="T38" fmla="*/ 29894600 w 24"/>
                  <a:gd name="T39" fmla="*/ 39536313 h 47"/>
                  <a:gd name="T40" fmla="*/ 29894600 w 24"/>
                  <a:gd name="T41" fmla="*/ 43492332 h 47"/>
                  <a:gd name="T42" fmla="*/ 36347450 w 24"/>
                  <a:gd name="T43" fmla="*/ 43492332 h 47"/>
                  <a:gd name="T44" fmla="*/ 34797604 w 24"/>
                  <a:gd name="T45" fmla="*/ 53120347 h 47"/>
                  <a:gd name="T46" fmla="*/ 37895763 w 24"/>
                  <a:gd name="T47" fmla="*/ 54418666 h 47"/>
                  <a:gd name="T48" fmla="*/ 26885642 w 24"/>
                  <a:gd name="T49" fmla="*/ 58772750 h 47"/>
                  <a:gd name="T50" fmla="*/ 17441633 w 24"/>
                  <a:gd name="T51" fmla="*/ 60072182 h 47"/>
                  <a:gd name="T52" fmla="*/ 12537396 w 24"/>
                  <a:gd name="T53" fmla="*/ 61447833 h 47"/>
                  <a:gd name="T54" fmla="*/ 6452554 w 24"/>
                  <a:gd name="T55" fmla="*/ 61447833 h 47"/>
                  <a:gd name="T56" fmla="*/ 1548613 w 24"/>
                  <a:gd name="T57" fmla="*/ 62747265 h 47"/>
                  <a:gd name="T58" fmla="*/ 8001163 w 24"/>
                  <a:gd name="T59" fmla="*/ 57074978 h 47"/>
                  <a:gd name="T60" fmla="*/ 9440400 w 24"/>
                  <a:gd name="T61" fmla="*/ 51820644 h 47"/>
                  <a:gd name="T62" fmla="*/ 4907846 w 24"/>
                  <a:gd name="T63" fmla="*/ 50444168 h 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4" h="47">
                    <a:moveTo>
                      <a:pt x="3" y="37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5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0" y="43"/>
                      <a:pt x="9" y="43"/>
                    </a:cubicBezTo>
                    <a:cubicBezTo>
                      <a:pt x="9" y="43"/>
                      <a:pt x="8" y="45"/>
                      <a:pt x="8" y="45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3" y="37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400" b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707" name="Freeform 455"/>
              <p:cNvSpPr>
                <a:spLocks/>
              </p:cNvSpPr>
              <p:nvPr/>
            </p:nvSpPr>
            <p:spPr bwMode="auto">
              <a:xfrm>
                <a:off x="2201" y="1331"/>
                <a:ext cx="34" cy="22"/>
              </a:xfrm>
              <a:custGeom>
                <a:avLst/>
                <a:gdLst>
                  <a:gd name="T0" fmla="*/ 24 w 34"/>
                  <a:gd name="T1" fmla="*/ 22 h 22"/>
                  <a:gd name="T2" fmla="*/ 0 w 34"/>
                  <a:gd name="T3" fmla="*/ 18 h 22"/>
                  <a:gd name="T4" fmla="*/ 13 w 34"/>
                  <a:gd name="T5" fmla="*/ 0 h 22"/>
                  <a:gd name="T6" fmla="*/ 27 w 34"/>
                  <a:gd name="T7" fmla="*/ 3 h 22"/>
                  <a:gd name="T8" fmla="*/ 34 w 34"/>
                  <a:gd name="T9" fmla="*/ 15 h 22"/>
                  <a:gd name="T10" fmla="*/ 24 w 34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22">
                    <a:moveTo>
                      <a:pt x="24" y="22"/>
                    </a:moveTo>
                    <a:lnTo>
                      <a:pt x="0" y="18"/>
                    </a:lnTo>
                    <a:lnTo>
                      <a:pt x="13" y="0"/>
                    </a:lnTo>
                    <a:lnTo>
                      <a:pt x="27" y="3"/>
                    </a:lnTo>
                    <a:lnTo>
                      <a:pt x="34" y="15"/>
                    </a:lnTo>
                    <a:lnTo>
                      <a:pt x="24" y="22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400" b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65" name="Freeform 458"/>
            <p:cNvSpPr>
              <a:spLocks/>
            </p:cNvSpPr>
            <p:nvPr/>
          </p:nvSpPr>
          <p:spPr bwMode="auto">
            <a:xfrm>
              <a:off x="5265573" y="3565270"/>
              <a:ext cx="67238" cy="42163"/>
            </a:xfrm>
            <a:custGeom>
              <a:avLst/>
              <a:gdLst>
                <a:gd name="T0" fmla="*/ 0 w 46"/>
                <a:gd name="T1" fmla="*/ 2147483646 h 28"/>
                <a:gd name="T2" fmla="*/ 2147483646 w 46"/>
                <a:gd name="T3" fmla="*/ 2147483646 h 28"/>
                <a:gd name="T4" fmla="*/ 2147483646 w 46"/>
                <a:gd name="T5" fmla="*/ 2147483646 h 28"/>
                <a:gd name="T6" fmla="*/ 2147483646 w 46"/>
                <a:gd name="T7" fmla="*/ 2147483646 h 28"/>
                <a:gd name="T8" fmla="*/ 2147483646 w 46"/>
                <a:gd name="T9" fmla="*/ 2147483646 h 28"/>
                <a:gd name="T10" fmla="*/ 2147483646 w 46"/>
                <a:gd name="T11" fmla="*/ 0 h 28"/>
                <a:gd name="T12" fmla="*/ 2147483646 w 46"/>
                <a:gd name="T13" fmla="*/ 2147483646 h 28"/>
                <a:gd name="T14" fmla="*/ 2147483646 w 46"/>
                <a:gd name="T15" fmla="*/ 2147483646 h 28"/>
                <a:gd name="T16" fmla="*/ 2147483646 w 46"/>
                <a:gd name="T17" fmla="*/ 2147483646 h 28"/>
                <a:gd name="T18" fmla="*/ 2147483646 w 46"/>
                <a:gd name="T19" fmla="*/ 2147483646 h 28"/>
                <a:gd name="T20" fmla="*/ 2147483646 w 46"/>
                <a:gd name="T21" fmla="*/ 2147483646 h 28"/>
                <a:gd name="T22" fmla="*/ 2147483646 w 46"/>
                <a:gd name="T23" fmla="*/ 2147483646 h 28"/>
                <a:gd name="T24" fmla="*/ 2147483646 w 46"/>
                <a:gd name="T25" fmla="*/ 2147483646 h 28"/>
                <a:gd name="T26" fmla="*/ 2147483646 w 46"/>
                <a:gd name="T27" fmla="*/ 2147483646 h 28"/>
                <a:gd name="T28" fmla="*/ 0 w 46"/>
                <a:gd name="T29" fmla="*/ 2147483646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28">
                  <a:moveTo>
                    <a:pt x="0" y="15"/>
                  </a:moveTo>
                  <a:lnTo>
                    <a:pt x="3" y="17"/>
                  </a:lnTo>
                  <a:lnTo>
                    <a:pt x="12" y="14"/>
                  </a:lnTo>
                  <a:lnTo>
                    <a:pt x="13" y="8"/>
                  </a:lnTo>
                  <a:lnTo>
                    <a:pt x="27" y="9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33" y="11"/>
                  </a:lnTo>
                  <a:lnTo>
                    <a:pt x="36" y="18"/>
                  </a:lnTo>
                  <a:lnTo>
                    <a:pt x="27" y="21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2" y="23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6" name="Freeform 507"/>
            <p:cNvSpPr>
              <a:spLocks/>
            </p:cNvSpPr>
            <p:nvPr/>
          </p:nvSpPr>
          <p:spPr bwMode="auto">
            <a:xfrm>
              <a:off x="6247827" y="2982516"/>
              <a:ext cx="1388603" cy="993843"/>
            </a:xfrm>
            <a:custGeom>
              <a:avLst/>
              <a:gdLst>
                <a:gd name="T0" fmla="*/ 2147483646 w 950"/>
                <a:gd name="T1" fmla="*/ 2147483646 h 660"/>
                <a:gd name="T2" fmla="*/ 2147483646 w 950"/>
                <a:gd name="T3" fmla="*/ 2147483646 h 660"/>
                <a:gd name="T4" fmla="*/ 2147483646 w 950"/>
                <a:gd name="T5" fmla="*/ 2147483646 h 660"/>
                <a:gd name="T6" fmla="*/ 2147483646 w 950"/>
                <a:gd name="T7" fmla="*/ 2147483646 h 660"/>
                <a:gd name="T8" fmla="*/ 2147483646 w 950"/>
                <a:gd name="T9" fmla="*/ 2147483646 h 660"/>
                <a:gd name="T10" fmla="*/ 2147483646 w 950"/>
                <a:gd name="T11" fmla="*/ 2147483646 h 660"/>
                <a:gd name="T12" fmla="*/ 2147483646 w 950"/>
                <a:gd name="T13" fmla="*/ 2147483646 h 660"/>
                <a:gd name="T14" fmla="*/ 2147483646 w 950"/>
                <a:gd name="T15" fmla="*/ 2147483646 h 660"/>
                <a:gd name="T16" fmla="*/ 2147483646 w 950"/>
                <a:gd name="T17" fmla="*/ 2147483646 h 660"/>
                <a:gd name="T18" fmla="*/ 2147483646 w 950"/>
                <a:gd name="T19" fmla="*/ 2147483646 h 660"/>
                <a:gd name="T20" fmla="*/ 2147483646 w 950"/>
                <a:gd name="T21" fmla="*/ 2147483646 h 660"/>
                <a:gd name="T22" fmla="*/ 2147483646 w 950"/>
                <a:gd name="T23" fmla="*/ 2147483646 h 660"/>
                <a:gd name="T24" fmla="*/ 2147483646 w 950"/>
                <a:gd name="T25" fmla="*/ 2147483646 h 660"/>
                <a:gd name="T26" fmla="*/ 2147483646 w 950"/>
                <a:gd name="T27" fmla="*/ 2147483646 h 660"/>
                <a:gd name="T28" fmla="*/ 2147483646 w 950"/>
                <a:gd name="T29" fmla="*/ 2147483646 h 660"/>
                <a:gd name="T30" fmla="*/ 2147483646 w 950"/>
                <a:gd name="T31" fmla="*/ 2147483646 h 660"/>
                <a:gd name="T32" fmla="*/ 2147483646 w 950"/>
                <a:gd name="T33" fmla="*/ 2147483646 h 660"/>
                <a:gd name="T34" fmla="*/ 2147483646 w 950"/>
                <a:gd name="T35" fmla="*/ 2147483646 h 660"/>
                <a:gd name="T36" fmla="*/ 2147483646 w 950"/>
                <a:gd name="T37" fmla="*/ 2147483646 h 660"/>
                <a:gd name="T38" fmla="*/ 2147483646 w 950"/>
                <a:gd name="T39" fmla="*/ 2147483646 h 660"/>
                <a:gd name="T40" fmla="*/ 2147483646 w 950"/>
                <a:gd name="T41" fmla="*/ 2147483646 h 660"/>
                <a:gd name="T42" fmla="*/ 2147483646 w 950"/>
                <a:gd name="T43" fmla="*/ 2147483646 h 660"/>
                <a:gd name="T44" fmla="*/ 2147483646 w 950"/>
                <a:gd name="T45" fmla="*/ 2147483646 h 660"/>
                <a:gd name="T46" fmla="*/ 2147483646 w 950"/>
                <a:gd name="T47" fmla="*/ 2147483646 h 660"/>
                <a:gd name="T48" fmla="*/ 2147483646 w 950"/>
                <a:gd name="T49" fmla="*/ 2147483646 h 660"/>
                <a:gd name="T50" fmla="*/ 2147483646 w 950"/>
                <a:gd name="T51" fmla="*/ 2147483646 h 660"/>
                <a:gd name="T52" fmla="*/ 2147483646 w 950"/>
                <a:gd name="T53" fmla="*/ 2147483646 h 660"/>
                <a:gd name="T54" fmla="*/ 2147483646 w 950"/>
                <a:gd name="T55" fmla="*/ 2147483646 h 660"/>
                <a:gd name="T56" fmla="*/ 2147483646 w 950"/>
                <a:gd name="T57" fmla="*/ 2147483646 h 660"/>
                <a:gd name="T58" fmla="*/ 2147483646 w 950"/>
                <a:gd name="T59" fmla="*/ 2147483646 h 660"/>
                <a:gd name="T60" fmla="*/ 2147483646 w 950"/>
                <a:gd name="T61" fmla="*/ 2147483646 h 660"/>
                <a:gd name="T62" fmla="*/ 2147483646 w 950"/>
                <a:gd name="T63" fmla="*/ 2147483646 h 660"/>
                <a:gd name="T64" fmla="*/ 2147483646 w 950"/>
                <a:gd name="T65" fmla="*/ 2147483646 h 660"/>
                <a:gd name="T66" fmla="*/ 2147483646 w 950"/>
                <a:gd name="T67" fmla="*/ 2147483646 h 660"/>
                <a:gd name="T68" fmla="*/ 2147483646 w 950"/>
                <a:gd name="T69" fmla="*/ 2147483646 h 660"/>
                <a:gd name="T70" fmla="*/ 2147483646 w 950"/>
                <a:gd name="T71" fmla="*/ 2147483646 h 660"/>
                <a:gd name="T72" fmla="*/ 2147483646 w 950"/>
                <a:gd name="T73" fmla="*/ 2147483646 h 660"/>
                <a:gd name="T74" fmla="*/ 2147483646 w 950"/>
                <a:gd name="T75" fmla="*/ 2147483646 h 660"/>
                <a:gd name="T76" fmla="*/ 2147483646 w 950"/>
                <a:gd name="T77" fmla="*/ 2147483646 h 660"/>
                <a:gd name="T78" fmla="*/ 2147483646 w 950"/>
                <a:gd name="T79" fmla="*/ 2147483646 h 660"/>
                <a:gd name="T80" fmla="*/ 2147483646 w 950"/>
                <a:gd name="T81" fmla="*/ 2147483646 h 660"/>
                <a:gd name="T82" fmla="*/ 2147483646 w 950"/>
                <a:gd name="T83" fmla="*/ 2147483646 h 660"/>
                <a:gd name="T84" fmla="*/ 2147483646 w 950"/>
                <a:gd name="T85" fmla="*/ 2147483646 h 660"/>
                <a:gd name="T86" fmla="*/ 2147483646 w 950"/>
                <a:gd name="T87" fmla="*/ 2147483646 h 660"/>
                <a:gd name="T88" fmla="*/ 2147483646 w 950"/>
                <a:gd name="T89" fmla="*/ 2147483646 h 660"/>
                <a:gd name="T90" fmla="*/ 2147483646 w 950"/>
                <a:gd name="T91" fmla="*/ 2147483646 h 660"/>
                <a:gd name="T92" fmla="*/ 2147483646 w 950"/>
                <a:gd name="T93" fmla="*/ 2147483646 h 660"/>
                <a:gd name="T94" fmla="*/ 2147483646 w 950"/>
                <a:gd name="T95" fmla="*/ 2147483646 h 660"/>
                <a:gd name="T96" fmla="*/ 2147483646 w 950"/>
                <a:gd name="T97" fmla="*/ 2147483646 h 660"/>
                <a:gd name="T98" fmla="*/ 2147483646 w 950"/>
                <a:gd name="T99" fmla="*/ 2147483646 h 660"/>
                <a:gd name="T100" fmla="*/ 2147483646 w 950"/>
                <a:gd name="T101" fmla="*/ 2147483646 h 660"/>
                <a:gd name="T102" fmla="*/ 2147483646 w 950"/>
                <a:gd name="T103" fmla="*/ 2147483646 h 660"/>
                <a:gd name="T104" fmla="*/ 2147483646 w 950"/>
                <a:gd name="T105" fmla="*/ 2147483646 h 660"/>
                <a:gd name="T106" fmla="*/ 2147483646 w 950"/>
                <a:gd name="T107" fmla="*/ 2147483646 h 660"/>
                <a:gd name="T108" fmla="*/ 2147483646 w 950"/>
                <a:gd name="T109" fmla="*/ 2147483646 h 660"/>
                <a:gd name="T110" fmla="*/ 2147483646 w 950"/>
                <a:gd name="T111" fmla="*/ 2147483646 h 660"/>
                <a:gd name="T112" fmla="*/ 2147483646 w 950"/>
                <a:gd name="T113" fmla="*/ 2147483646 h 660"/>
                <a:gd name="T114" fmla="*/ 2147483646 w 950"/>
                <a:gd name="T115" fmla="*/ 2147483646 h 660"/>
                <a:gd name="T116" fmla="*/ 2147483646 w 950"/>
                <a:gd name="T117" fmla="*/ 2147483646 h 660"/>
                <a:gd name="T118" fmla="*/ 2147483646 w 950"/>
                <a:gd name="T119" fmla="*/ 2147483646 h 660"/>
                <a:gd name="T120" fmla="*/ 2147483646 w 950"/>
                <a:gd name="T121" fmla="*/ 2147483646 h 6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950" h="660">
                  <a:moveTo>
                    <a:pt x="890" y="118"/>
                  </a:moveTo>
                  <a:lnTo>
                    <a:pt x="890" y="118"/>
                  </a:lnTo>
                  <a:lnTo>
                    <a:pt x="880" y="98"/>
                  </a:lnTo>
                  <a:lnTo>
                    <a:pt x="840" y="88"/>
                  </a:lnTo>
                  <a:lnTo>
                    <a:pt x="792" y="0"/>
                  </a:lnTo>
                  <a:lnTo>
                    <a:pt x="746" y="0"/>
                  </a:lnTo>
                  <a:lnTo>
                    <a:pt x="732" y="24"/>
                  </a:lnTo>
                  <a:lnTo>
                    <a:pt x="702" y="78"/>
                  </a:lnTo>
                  <a:lnTo>
                    <a:pt x="672" y="78"/>
                  </a:lnTo>
                  <a:lnTo>
                    <a:pt x="668" y="88"/>
                  </a:lnTo>
                  <a:lnTo>
                    <a:pt x="668" y="90"/>
                  </a:lnTo>
                  <a:lnTo>
                    <a:pt x="670" y="90"/>
                  </a:lnTo>
                  <a:lnTo>
                    <a:pt x="672" y="90"/>
                  </a:lnTo>
                  <a:lnTo>
                    <a:pt x="672" y="92"/>
                  </a:lnTo>
                  <a:lnTo>
                    <a:pt x="674" y="92"/>
                  </a:lnTo>
                  <a:lnTo>
                    <a:pt x="676" y="92"/>
                  </a:lnTo>
                  <a:lnTo>
                    <a:pt x="676" y="94"/>
                  </a:lnTo>
                  <a:lnTo>
                    <a:pt x="678" y="94"/>
                  </a:lnTo>
                  <a:lnTo>
                    <a:pt x="676" y="94"/>
                  </a:lnTo>
                  <a:lnTo>
                    <a:pt x="676" y="92"/>
                  </a:lnTo>
                  <a:lnTo>
                    <a:pt x="674" y="92"/>
                  </a:lnTo>
                  <a:lnTo>
                    <a:pt x="672" y="92"/>
                  </a:lnTo>
                  <a:lnTo>
                    <a:pt x="672" y="90"/>
                  </a:lnTo>
                  <a:lnTo>
                    <a:pt x="670" y="90"/>
                  </a:lnTo>
                  <a:lnTo>
                    <a:pt x="668" y="90"/>
                  </a:lnTo>
                  <a:lnTo>
                    <a:pt x="668" y="88"/>
                  </a:lnTo>
                  <a:lnTo>
                    <a:pt x="658" y="108"/>
                  </a:lnTo>
                  <a:lnTo>
                    <a:pt x="658" y="132"/>
                  </a:lnTo>
                  <a:lnTo>
                    <a:pt x="702" y="138"/>
                  </a:lnTo>
                  <a:lnTo>
                    <a:pt x="712" y="158"/>
                  </a:lnTo>
                  <a:lnTo>
                    <a:pt x="668" y="172"/>
                  </a:lnTo>
                  <a:lnTo>
                    <a:pt x="632" y="188"/>
                  </a:lnTo>
                  <a:lnTo>
                    <a:pt x="598" y="202"/>
                  </a:lnTo>
                  <a:lnTo>
                    <a:pt x="588" y="236"/>
                  </a:lnTo>
                  <a:lnTo>
                    <a:pt x="534" y="242"/>
                  </a:lnTo>
                  <a:lnTo>
                    <a:pt x="480" y="276"/>
                  </a:lnTo>
                  <a:lnTo>
                    <a:pt x="430" y="252"/>
                  </a:lnTo>
                  <a:lnTo>
                    <a:pt x="370" y="246"/>
                  </a:lnTo>
                  <a:lnTo>
                    <a:pt x="326" y="202"/>
                  </a:lnTo>
                  <a:lnTo>
                    <a:pt x="262" y="182"/>
                  </a:lnTo>
                  <a:lnTo>
                    <a:pt x="256" y="132"/>
                  </a:lnTo>
                  <a:lnTo>
                    <a:pt x="226" y="118"/>
                  </a:lnTo>
                  <a:lnTo>
                    <a:pt x="222" y="114"/>
                  </a:lnTo>
                  <a:lnTo>
                    <a:pt x="220" y="116"/>
                  </a:lnTo>
                  <a:lnTo>
                    <a:pt x="218" y="120"/>
                  </a:lnTo>
                  <a:lnTo>
                    <a:pt x="218" y="122"/>
                  </a:lnTo>
                  <a:lnTo>
                    <a:pt x="218" y="124"/>
                  </a:lnTo>
                  <a:lnTo>
                    <a:pt x="218" y="122"/>
                  </a:lnTo>
                  <a:lnTo>
                    <a:pt x="218" y="120"/>
                  </a:lnTo>
                  <a:lnTo>
                    <a:pt x="222" y="114"/>
                  </a:lnTo>
                  <a:lnTo>
                    <a:pt x="218" y="108"/>
                  </a:lnTo>
                  <a:lnTo>
                    <a:pt x="208" y="114"/>
                  </a:lnTo>
                  <a:lnTo>
                    <a:pt x="208" y="124"/>
                  </a:lnTo>
                  <a:lnTo>
                    <a:pt x="208" y="114"/>
                  </a:lnTo>
                  <a:lnTo>
                    <a:pt x="192" y="118"/>
                  </a:lnTo>
                  <a:lnTo>
                    <a:pt x="182" y="148"/>
                  </a:lnTo>
                  <a:lnTo>
                    <a:pt x="142" y="142"/>
                  </a:lnTo>
                  <a:lnTo>
                    <a:pt x="132" y="192"/>
                  </a:lnTo>
                  <a:lnTo>
                    <a:pt x="98" y="198"/>
                  </a:lnTo>
                  <a:lnTo>
                    <a:pt x="88" y="256"/>
                  </a:lnTo>
                  <a:lnTo>
                    <a:pt x="68" y="276"/>
                  </a:lnTo>
                  <a:lnTo>
                    <a:pt x="44" y="296"/>
                  </a:lnTo>
                  <a:lnTo>
                    <a:pt x="4" y="306"/>
                  </a:lnTo>
                  <a:lnTo>
                    <a:pt x="0" y="326"/>
                  </a:lnTo>
                  <a:lnTo>
                    <a:pt x="10" y="334"/>
                  </a:lnTo>
                  <a:lnTo>
                    <a:pt x="14" y="350"/>
                  </a:lnTo>
                  <a:lnTo>
                    <a:pt x="4" y="354"/>
                  </a:lnTo>
                  <a:lnTo>
                    <a:pt x="14" y="364"/>
                  </a:lnTo>
                  <a:lnTo>
                    <a:pt x="30" y="370"/>
                  </a:lnTo>
                  <a:lnTo>
                    <a:pt x="44" y="390"/>
                  </a:lnTo>
                  <a:lnTo>
                    <a:pt x="64" y="390"/>
                  </a:lnTo>
                  <a:lnTo>
                    <a:pt x="94" y="390"/>
                  </a:lnTo>
                  <a:lnTo>
                    <a:pt x="98" y="398"/>
                  </a:lnTo>
                  <a:lnTo>
                    <a:pt x="78" y="428"/>
                  </a:lnTo>
                  <a:lnTo>
                    <a:pt x="84" y="444"/>
                  </a:lnTo>
                  <a:lnTo>
                    <a:pt x="74" y="458"/>
                  </a:lnTo>
                  <a:lnTo>
                    <a:pt x="84" y="478"/>
                  </a:lnTo>
                  <a:lnTo>
                    <a:pt x="108" y="488"/>
                  </a:lnTo>
                  <a:lnTo>
                    <a:pt x="104" y="492"/>
                  </a:lnTo>
                  <a:lnTo>
                    <a:pt x="114" y="492"/>
                  </a:lnTo>
                  <a:lnTo>
                    <a:pt x="148" y="508"/>
                  </a:lnTo>
                  <a:lnTo>
                    <a:pt x="178" y="522"/>
                  </a:lnTo>
                  <a:lnTo>
                    <a:pt x="208" y="528"/>
                  </a:lnTo>
                  <a:lnTo>
                    <a:pt x="218" y="536"/>
                  </a:lnTo>
                  <a:lnTo>
                    <a:pt x="226" y="536"/>
                  </a:lnTo>
                  <a:lnTo>
                    <a:pt x="242" y="546"/>
                  </a:lnTo>
                  <a:lnTo>
                    <a:pt x="262" y="546"/>
                  </a:lnTo>
                  <a:lnTo>
                    <a:pt x="282" y="546"/>
                  </a:lnTo>
                  <a:lnTo>
                    <a:pt x="296" y="528"/>
                  </a:lnTo>
                  <a:lnTo>
                    <a:pt x="316" y="512"/>
                  </a:lnTo>
                  <a:lnTo>
                    <a:pt x="340" y="512"/>
                  </a:lnTo>
                  <a:lnTo>
                    <a:pt x="360" y="528"/>
                  </a:lnTo>
                  <a:lnTo>
                    <a:pt x="370" y="528"/>
                  </a:lnTo>
                  <a:lnTo>
                    <a:pt x="380" y="532"/>
                  </a:lnTo>
                  <a:lnTo>
                    <a:pt x="386" y="556"/>
                  </a:lnTo>
                  <a:lnTo>
                    <a:pt x="376" y="586"/>
                  </a:lnTo>
                  <a:lnTo>
                    <a:pt x="376" y="596"/>
                  </a:lnTo>
                  <a:lnTo>
                    <a:pt x="390" y="600"/>
                  </a:lnTo>
                  <a:lnTo>
                    <a:pt x="400" y="616"/>
                  </a:lnTo>
                  <a:lnTo>
                    <a:pt x="400" y="626"/>
                  </a:lnTo>
                  <a:lnTo>
                    <a:pt x="424" y="636"/>
                  </a:lnTo>
                  <a:lnTo>
                    <a:pt x="420" y="640"/>
                  </a:lnTo>
                  <a:lnTo>
                    <a:pt x="444" y="636"/>
                  </a:lnTo>
                  <a:lnTo>
                    <a:pt x="450" y="616"/>
                  </a:lnTo>
                  <a:lnTo>
                    <a:pt x="500" y="616"/>
                  </a:lnTo>
                  <a:lnTo>
                    <a:pt x="518" y="630"/>
                  </a:lnTo>
                  <a:lnTo>
                    <a:pt x="524" y="646"/>
                  </a:lnTo>
                  <a:lnTo>
                    <a:pt x="534" y="640"/>
                  </a:lnTo>
                  <a:lnTo>
                    <a:pt x="568" y="660"/>
                  </a:lnTo>
                  <a:lnTo>
                    <a:pt x="568" y="646"/>
                  </a:lnTo>
                  <a:lnTo>
                    <a:pt x="608" y="630"/>
                  </a:lnTo>
                  <a:lnTo>
                    <a:pt x="612" y="626"/>
                  </a:lnTo>
                  <a:lnTo>
                    <a:pt x="622" y="620"/>
                  </a:lnTo>
                  <a:lnTo>
                    <a:pt x="632" y="626"/>
                  </a:lnTo>
                  <a:lnTo>
                    <a:pt x="652" y="616"/>
                  </a:lnTo>
                  <a:lnTo>
                    <a:pt x="678" y="600"/>
                  </a:lnTo>
                  <a:lnTo>
                    <a:pt x="702" y="582"/>
                  </a:lnTo>
                  <a:lnTo>
                    <a:pt x="712" y="562"/>
                  </a:lnTo>
                  <a:lnTo>
                    <a:pt x="726" y="542"/>
                  </a:lnTo>
                  <a:lnTo>
                    <a:pt x="742" y="512"/>
                  </a:lnTo>
                  <a:lnTo>
                    <a:pt x="742" y="498"/>
                  </a:lnTo>
                  <a:lnTo>
                    <a:pt x="736" y="488"/>
                  </a:lnTo>
                  <a:lnTo>
                    <a:pt x="742" y="472"/>
                  </a:lnTo>
                  <a:lnTo>
                    <a:pt x="736" y="454"/>
                  </a:lnTo>
                  <a:lnTo>
                    <a:pt x="712" y="404"/>
                  </a:lnTo>
                  <a:lnTo>
                    <a:pt x="716" y="398"/>
                  </a:lnTo>
                  <a:lnTo>
                    <a:pt x="736" y="374"/>
                  </a:lnTo>
                  <a:lnTo>
                    <a:pt x="752" y="370"/>
                  </a:lnTo>
                  <a:lnTo>
                    <a:pt x="754" y="368"/>
                  </a:lnTo>
                  <a:lnTo>
                    <a:pt x="754" y="364"/>
                  </a:lnTo>
                  <a:lnTo>
                    <a:pt x="752" y="360"/>
                  </a:lnTo>
                  <a:lnTo>
                    <a:pt x="726" y="354"/>
                  </a:lnTo>
                  <a:lnTo>
                    <a:pt x="712" y="360"/>
                  </a:lnTo>
                  <a:lnTo>
                    <a:pt x="702" y="354"/>
                  </a:lnTo>
                  <a:lnTo>
                    <a:pt x="692" y="340"/>
                  </a:lnTo>
                  <a:lnTo>
                    <a:pt x="682" y="330"/>
                  </a:lnTo>
                  <a:lnTo>
                    <a:pt x="706" y="320"/>
                  </a:lnTo>
                  <a:lnTo>
                    <a:pt x="722" y="306"/>
                  </a:lnTo>
                  <a:lnTo>
                    <a:pt x="746" y="290"/>
                  </a:lnTo>
                  <a:lnTo>
                    <a:pt x="756" y="290"/>
                  </a:lnTo>
                  <a:lnTo>
                    <a:pt x="742" y="310"/>
                  </a:lnTo>
                  <a:lnTo>
                    <a:pt x="752" y="320"/>
                  </a:lnTo>
                  <a:lnTo>
                    <a:pt x="762" y="316"/>
                  </a:lnTo>
                  <a:lnTo>
                    <a:pt x="786" y="306"/>
                  </a:lnTo>
                  <a:lnTo>
                    <a:pt x="792" y="284"/>
                  </a:lnTo>
                  <a:lnTo>
                    <a:pt x="806" y="272"/>
                  </a:lnTo>
                  <a:lnTo>
                    <a:pt x="820" y="282"/>
                  </a:lnTo>
                  <a:lnTo>
                    <a:pt x="818" y="262"/>
                  </a:lnTo>
                  <a:lnTo>
                    <a:pt x="838" y="250"/>
                  </a:lnTo>
                  <a:lnTo>
                    <a:pt x="864" y="254"/>
                  </a:lnTo>
                  <a:lnTo>
                    <a:pt x="876" y="246"/>
                  </a:lnTo>
                  <a:lnTo>
                    <a:pt x="890" y="252"/>
                  </a:lnTo>
                  <a:lnTo>
                    <a:pt x="900" y="198"/>
                  </a:lnTo>
                  <a:lnTo>
                    <a:pt x="924" y="192"/>
                  </a:lnTo>
                  <a:lnTo>
                    <a:pt x="950" y="118"/>
                  </a:lnTo>
                  <a:lnTo>
                    <a:pt x="890" y="118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7" name="Freeform 260"/>
            <p:cNvSpPr>
              <a:spLocks/>
            </p:cNvSpPr>
            <p:nvPr/>
          </p:nvSpPr>
          <p:spPr bwMode="auto">
            <a:xfrm>
              <a:off x="6376455" y="4244395"/>
              <a:ext cx="52621" cy="64751"/>
            </a:xfrm>
            <a:custGeom>
              <a:avLst/>
              <a:gdLst>
                <a:gd name="T0" fmla="*/ 2147483646 w 42"/>
                <a:gd name="T1" fmla="*/ 0 h 54"/>
                <a:gd name="T2" fmla="*/ 0 w 42"/>
                <a:gd name="T3" fmla="*/ 2147483646 h 54"/>
                <a:gd name="T4" fmla="*/ 2147483646 w 42"/>
                <a:gd name="T5" fmla="*/ 2147483646 h 54"/>
                <a:gd name="T6" fmla="*/ 2147483646 w 42"/>
                <a:gd name="T7" fmla="*/ 2147483646 h 54"/>
                <a:gd name="T8" fmla="*/ 2147483646 w 42"/>
                <a:gd name="T9" fmla="*/ 2147483646 h 54"/>
                <a:gd name="T10" fmla="*/ 2147483646 w 42"/>
                <a:gd name="T11" fmla="*/ 0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2" h="54">
                  <a:moveTo>
                    <a:pt x="6" y="0"/>
                  </a:moveTo>
                  <a:lnTo>
                    <a:pt x="0" y="24"/>
                  </a:lnTo>
                  <a:lnTo>
                    <a:pt x="6" y="54"/>
                  </a:lnTo>
                  <a:lnTo>
                    <a:pt x="30" y="54"/>
                  </a:lnTo>
                  <a:lnTo>
                    <a:pt x="42" y="3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8" name="Freeform 261"/>
            <p:cNvSpPr>
              <a:spLocks/>
            </p:cNvSpPr>
            <p:nvPr/>
          </p:nvSpPr>
          <p:spPr bwMode="auto">
            <a:xfrm>
              <a:off x="7042985" y="3976359"/>
              <a:ext cx="49697" cy="51198"/>
            </a:xfrm>
            <a:custGeom>
              <a:avLst/>
              <a:gdLst>
                <a:gd name="T0" fmla="*/ 0 w 42"/>
                <a:gd name="T1" fmla="*/ 2147483646 h 42"/>
                <a:gd name="T2" fmla="*/ 2147483646 w 42"/>
                <a:gd name="T3" fmla="*/ 2147483646 h 42"/>
                <a:gd name="T4" fmla="*/ 2147483646 w 42"/>
                <a:gd name="T5" fmla="*/ 0 h 42"/>
                <a:gd name="T6" fmla="*/ 2147483646 w 42"/>
                <a:gd name="T7" fmla="*/ 2147483646 h 42"/>
                <a:gd name="T8" fmla="*/ 2147483646 w 42"/>
                <a:gd name="T9" fmla="*/ 2147483646 h 42"/>
                <a:gd name="T10" fmla="*/ 2147483646 w 42"/>
                <a:gd name="T11" fmla="*/ 2147483646 h 42"/>
                <a:gd name="T12" fmla="*/ 0 w 42"/>
                <a:gd name="T13" fmla="*/ 2147483646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" h="42">
                  <a:moveTo>
                    <a:pt x="0" y="30"/>
                  </a:moveTo>
                  <a:lnTo>
                    <a:pt x="12" y="12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30" y="30"/>
                  </a:lnTo>
                  <a:lnTo>
                    <a:pt x="12" y="42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9" name="Freeform 262"/>
            <p:cNvSpPr>
              <a:spLocks/>
            </p:cNvSpPr>
            <p:nvPr/>
          </p:nvSpPr>
          <p:spPr bwMode="auto">
            <a:xfrm>
              <a:off x="7310473" y="3849870"/>
              <a:ext cx="29234" cy="88844"/>
            </a:xfrm>
            <a:custGeom>
              <a:avLst/>
              <a:gdLst>
                <a:gd name="T0" fmla="*/ 0 w 24"/>
                <a:gd name="T1" fmla="*/ 2147483646 h 72"/>
                <a:gd name="T2" fmla="*/ 0 w 24"/>
                <a:gd name="T3" fmla="*/ 2147483646 h 72"/>
                <a:gd name="T4" fmla="*/ 2147483646 w 24"/>
                <a:gd name="T5" fmla="*/ 0 h 72"/>
                <a:gd name="T6" fmla="*/ 2147483646 w 24"/>
                <a:gd name="T7" fmla="*/ 2147483646 h 72"/>
                <a:gd name="T8" fmla="*/ 2147483646 w 24"/>
                <a:gd name="T9" fmla="*/ 2147483646 h 72"/>
                <a:gd name="T10" fmla="*/ 0 w 24"/>
                <a:gd name="T11" fmla="*/ 2147483646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72">
                  <a:moveTo>
                    <a:pt x="0" y="42"/>
                  </a:moveTo>
                  <a:lnTo>
                    <a:pt x="0" y="18"/>
                  </a:lnTo>
                  <a:lnTo>
                    <a:pt x="24" y="0"/>
                  </a:lnTo>
                  <a:lnTo>
                    <a:pt x="24" y="24"/>
                  </a:lnTo>
                  <a:lnTo>
                    <a:pt x="6" y="7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0" name="Freeform 263"/>
            <p:cNvSpPr>
              <a:spLocks/>
            </p:cNvSpPr>
            <p:nvPr/>
          </p:nvSpPr>
          <p:spPr bwMode="auto">
            <a:xfrm>
              <a:off x="7526803" y="3619479"/>
              <a:ext cx="42389" cy="66256"/>
            </a:xfrm>
            <a:custGeom>
              <a:avLst/>
              <a:gdLst>
                <a:gd name="T0" fmla="*/ 0 w 36"/>
                <a:gd name="T1" fmla="*/ 2147483646 h 54"/>
                <a:gd name="T2" fmla="*/ 2147483646 w 36"/>
                <a:gd name="T3" fmla="*/ 2147483646 h 54"/>
                <a:gd name="T4" fmla="*/ 2147483646 w 36"/>
                <a:gd name="T5" fmla="*/ 2147483646 h 54"/>
                <a:gd name="T6" fmla="*/ 2147483646 w 36"/>
                <a:gd name="T7" fmla="*/ 2147483646 h 54"/>
                <a:gd name="T8" fmla="*/ 2147483646 w 36"/>
                <a:gd name="T9" fmla="*/ 2147483646 h 54"/>
                <a:gd name="T10" fmla="*/ 2147483646 w 36"/>
                <a:gd name="T11" fmla="*/ 0 h 54"/>
                <a:gd name="T12" fmla="*/ 0 w 36"/>
                <a:gd name="T13" fmla="*/ 2147483646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6" h="54">
                  <a:moveTo>
                    <a:pt x="0" y="18"/>
                  </a:moveTo>
                  <a:lnTo>
                    <a:pt x="6" y="36"/>
                  </a:lnTo>
                  <a:lnTo>
                    <a:pt x="12" y="54"/>
                  </a:lnTo>
                  <a:lnTo>
                    <a:pt x="30" y="42"/>
                  </a:lnTo>
                  <a:lnTo>
                    <a:pt x="36" y="18"/>
                  </a:lnTo>
                  <a:lnTo>
                    <a:pt x="3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1" name="Freeform 264"/>
            <p:cNvSpPr>
              <a:spLocks/>
            </p:cNvSpPr>
            <p:nvPr/>
          </p:nvSpPr>
          <p:spPr bwMode="auto">
            <a:xfrm>
              <a:off x="7577962" y="3279163"/>
              <a:ext cx="317186" cy="355374"/>
            </a:xfrm>
            <a:custGeom>
              <a:avLst/>
              <a:gdLst>
                <a:gd name="T0" fmla="*/ 2147483646 w 264"/>
                <a:gd name="T1" fmla="*/ 2147483646 h 289"/>
                <a:gd name="T2" fmla="*/ 2147483646 w 264"/>
                <a:gd name="T3" fmla="*/ 2147483646 h 289"/>
                <a:gd name="T4" fmla="*/ 2147483646 w 264"/>
                <a:gd name="T5" fmla="*/ 2147483646 h 289"/>
                <a:gd name="T6" fmla="*/ 2147483646 w 264"/>
                <a:gd name="T7" fmla="*/ 2147483646 h 289"/>
                <a:gd name="T8" fmla="*/ 2147483646 w 264"/>
                <a:gd name="T9" fmla="*/ 2147483646 h 289"/>
                <a:gd name="T10" fmla="*/ 2147483646 w 264"/>
                <a:gd name="T11" fmla="*/ 2147483646 h 289"/>
                <a:gd name="T12" fmla="*/ 2147483646 w 264"/>
                <a:gd name="T13" fmla="*/ 2147483646 h 289"/>
                <a:gd name="T14" fmla="*/ 2147483646 w 264"/>
                <a:gd name="T15" fmla="*/ 2147483646 h 289"/>
                <a:gd name="T16" fmla="*/ 2147483646 w 264"/>
                <a:gd name="T17" fmla="*/ 2147483646 h 289"/>
                <a:gd name="T18" fmla="*/ 2147483646 w 264"/>
                <a:gd name="T19" fmla="*/ 2147483646 h 289"/>
                <a:gd name="T20" fmla="*/ 2147483646 w 264"/>
                <a:gd name="T21" fmla="*/ 0 h 289"/>
                <a:gd name="T22" fmla="*/ 2147483646 w 264"/>
                <a:gd name="T23" fmla="*/ 2147483646 h 289"/>
                <a:gd name="T24" fmla="*/ 2147483646 w 264"/>
                <a:gd name="T25" fmla="*/ 2147483646 h 289"/>
                <a:gd name="T26" fmla="*/ 2147483646 w 264"/>
                <a:gd name="T27" fmla="*/ 2147483646 h 289"/>
                <a:gd name="T28" fmla="*/ 2147483646 w 264"/>
                <a:gd name="T29" fmla="*/ 2147483646 h 289"/>
                <a:gd name="T30" fmla="*/ 2147483646 w 264"/>
                <a:gd name="T31" fmla="*/ 2147483646 h 289"/>
                <a:gd name="T32" fmla="*/ 2147483646 w 264"/>
                <a:gd name="T33" fmla="*/ 2147483646 h 289"/>
                <a:gd name="T34" fmla="*/ 2147483646 w 264"/>
                <a:gd name="T35" fmla="*/ 2147483646 h 289"/>
                <a:gd name="T36" fmla="*/ 2147483646 w 264"/>
                <a:gd name="T37" fmla="*/ 2147483646 h 289"/>
                <a:gd name="T38" fmla="*/ 2147483646 w 264"/>
                <a:gd name="T39" fmla="*/ 2147483646 h 289"/>
                <a:gd name="T40" fmla="*/ 2147483646 w 264"/>
                <a:gd name="T41" fmla="*/ 2147483646 h 289"/>
                <a:gd name="T42" fmla="*/ 2147483646 w 264"/>
                <a:gd name="T43" fmla="*/ 2147483646 h 289"/>
                <a:gd name="T44" fmla="*/ 2147483646 w 264"/>
                <a:gd name="T45" fmla="*/ 2147483646 h 289"/>
                <a:gd name="T46" fmla="*/ 2147483646 w 264"/>
                <a:gd name="T47" fmla="*/ 2147483646 h 289"/>
                <a:gd name="T48" fmla="*/ 2147483646 w 264"/>
                <a:gd name="T49" fmla="*/ 2147483646 h 289"/>
                <a:gd name="T50" fmla="*/ 2147483646 w 264"/>
                <a:gd name="T51" fmla="*/ 2147483646 h 289"/>
                <a:gd name="T52" fmla="*/ 2147483646 w 264"/>
                <a:gd name="T53" fmla="*/ 2147483646 h 289"/>
                <a:gd name="T54" fmla="*/ 2147483646 w 264"/>
                <a:gd name="T55" fmla="*/ 2147483646 h 289"/>
                <a:gd name="T56" fmla="*/ 2147483646 w 264"/>
                <a:gd name="T57" fmla="*/ 2147483646 h 289"/>
                <a:gd name="T58" fmla="*/ 2147483646 w 264"/>
                <a:gd name="T59" fmla="*/ 2147483646 h 289"/>
                <a:gd name="T60" fmla="*/ 2147483646 w 264"/>
                <a:gd name="T61" fmla="*/ 2147483646 h 289"/>
                <a:gd name="T62" fmla="*/ 2147483646 w 264"/>
                <a:gd name="T63" fmla="*/ 2147483646 h 289"/>
                <a:gd name="T64" fmla="*/ 2147483646 w 264"/>
                <a:gd name="T65" fmla="*/ 2147483646 h 289"/>
                <a:gd name="T66" fmla="*/ 0 w 264"/>
                <a:gd name="T67" fmla="*/ 2147483646 h 289"/>
                <a:gd name="T68" fmla="*/ 2147483646 w 264"/>
                <a:gd name="T69" fmla="*/ 2147483646 h 2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64" h="289">
                  <a:moveTo>
                    <a:pt x="6" y="247"/>
                  </a:moveTo>
                  <a:lnTo>
                    <a:pt x="42" y="235"/>
                  </a:lnTo>
                  <a:lnTo>
                    <a:pt x="66" y="235"/>
                  </a:lnTo>
                  <a:lnTo>
                    <a:pt x="108" y="199"/>
                  </a:lnTo>
                  <a:lnTo>
                    <a:pt x="138" y="187"/>
                  </a:lnTo>
                  <a:lnTo>
                    <a:pt x="144" y="157"/>
                  </a:lnTo>
                  <a:lnTo>
                    <a:pt x="156" y="109"/>
                  </a:lnTo>
                  <a:lnTo>
                    <a:pt x="156" y="72"/>
                  </a:lnTo>
                  <a:lnTo>
                    <a:pt x="174" y="48"/>
                  </a:lnTo>
                  <a:lnTo>
                    <a:pt x="174" y="18"/>
                  </a:lnTo>
                  <a:lnTo>
                    <a:pt x="186" y="0"/>
                  </a:lnTo>
                  <a:lnTo>
                    <a:pt x="210" y="18"/>
                  </a:lnTo>
                  <a:lnTo>
                    <a:pt x="246" y="30"/>
                  </a:lnTo>
                  <a:lnTo>
                    <a:pt x="264" y="30"/>
                  </a:lnTo>
                  <a:lnTo>
                    <a:pt x="240" y="54"/>
                  </a:lnTo>
                  <a:lnTo>
                    <a:pt x="222" y="66"/>
                  </a:lnTo>
                  <a:lnTo>
                    <a:pt x="210" y="85"/>
                  </a:lnTo>
                  <a:lnTo>
                    <a:pt x="180" y="60"/>
                  </a:lnTo>
                  <a:lnTo>
                    <a:pt x="162" y="97"/>
                  </a:lnTo>
                  <a:lnTo>
                    <a:pt x="186" y="139"/>
                  </a:lnTo>
                  <a:lnTo>
                    <a:pt x="168" y="169"/>
                  </a:lnTo>
                  <a:lnTo>
                    <a:pt x="162" y="193"/>
                  </a:lnTo>
                  <a:lnTo>
                    <a:pt x="162" y="235"/>
                  </a:lnTo>
                  <a:lnTo>
                    <a:pt x="150" y="247"/>
                  </a:lnTo>
                  <a:lnTo>
                    <a:pt x="138" y="241"/>
                  </a:lnTo>
                  <a:lnTo>
                    <a:pt x="126" y="247"/>
                  </a:lnTo>
                  <a:lnTo>
                    <a:pt x="102" y="247"/>
                  </a:lnTo>
                  <a:lnTo>
                    <a:pt x="90" y="247"/>
                  </a:lnTo>
                  <a:lnTo>
                    <a:pt x="66" y="271"/>
                  </a:lnTo>
                  <a:lnTo>
                    <a:pt x="60" y="259"/>
                  </a:lnTo>
                  <a:lnTo>
                    <a:pt x="48" y="265"/>
                  </a:lnTo>
                  <a:lnTo>
                    <a:pt x="36" y="271"/>
                  </a:lnTo>
                  <a:lnTo>
                    <a:pt x="12" y="289"/>
                  </a:lnTo>
                  <a:lnTo>
                    <a:pt x="0" y="259"/>
                  </a:lnTo>
                  <a:lnTo>
                    <a:pt x="6" y="247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2" name="Freeform 265"/>
            <p:cNvSpPr>
              <a:spLocks/>
            </p:cNvSpPr>
            <p:nvPr/>
          </p:nvSpPr>
          <p:spPr bwMode="auto">
            <a:xfrm>
              <a:off x="7801600" y="2952400"/>
              <a:ext cx="57006" cy="290624"/>
            </a:xfrm>
            <a:custGeom>
              <a:avLst/>
              <a:gdLst>
                <a:gd name="T0" fmla="*/ 2147483646 w 48"/>
                <a:gd name="T1" fmla="*/ 2147483646 h 234"/>
                <a:gd name="T2" fmla="*/ 2147483646 w 48"/>
                <a:gd name="T3" fmla="*/ 2147483646 h 234"/>
                <a:gd name="T4" fmla="*/ 2147483646 w 48"/>
                <a:gd name="T5" fmla="*/ 2147483646 h 234"/>
                <a:gd name="T6" fmla="*/ 0 w 48"/>
                <a:gd name="T7" fmla="*/ 2147483646 h 234"/>
                <a:gd name="T8" fmla="*/ 2147483646 w 48"/>
                <a:gd name="T9" fmla="*/ 2147483646 h 234"/>
                <a:gd name="T10" fmla="*/ 2147483646 w 48"/>
                <a:gd name="T11" fmla="*/ 0 h 234"/>
                <a:gd name="T12" fmla="*/ 2147483646 w 48"/>
                <a:gd name="T13" fmla="*/ 2147483646 h 234"/>
                <a:gd name="T14" fmla="*/ 2147483646 w 48"/>
                <a:gd name="T15" fmla="*/ 2147483646 h 234"/>
                <a:gd name="T16" fmla="*/ 2147483646 w 48"/>
                <a:gd name="T17" fmla="*/ 2147483646 h 234"/>
                <a:gd name="T18" fmla="*/ 2147483646 w 48"/>
                <a:gd name="T19" fmla="*/ 2147483646 h 234"/>
                <a:gd name="T20" fmla="*/ 2147483646 w 48"/>
                <a:gd name="T21" fmla="*/ 2147483646 h 234"/>
                <a:gd name="T22" fmla="*/ 2147483646 w 48"/>
                <a:gd name="T23" fmla="*/ 2147483646 h 234"/>
                <a:gd name="T24" fmla="*/ 2147483646 w 48"/>
                <a:gd name="T25" fmla="*/ 2147483646 h 234"/>
                <a:gd name="T26" fmla="*/ 2147483646 w 48"/>
                <a:gd name="T27" fmla="*/ 2147483646 h 2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8" h="234">
                  <a:moveTo>
                    <a:pt x="12" y="222"/>
                  </a:moveTo>
                  <a:lnTo>
                    <a:pt x="12" y="180"/>
                  </a:lnTo>
                  <a:lnTo>
                    <a:pt x="6" y="90"/>
                  </a:lnTo>
                  <a:lnTo>
                    <a:pt x="0" y="66"/>
                  </a:lnTo>
                  <a:lnTo>
                    <a:pt x="6" y="30"/>
                  </a:lnTo>
                  <a:lnTo>
                    <a:pt x="12" y="0"/>
                  </a:lnTo>
                  <a:lnTo>
                    <a:pt x="24" y="36"/>
                  </a:lnTo>
                  <a:lnTo>
                    <a:pt x="24" y="60"/>
                  </a:lnTo>
                  <a:lnTo>
                    <a:pt x="48" y="156"/>
                  </a:lnTo>
                  <a:lnTo>
                    <a:pt x="30" y="144"/>
                  </a:lnTo>
                  <a:lnTo>
                    <a:pt x="24" y="168"/>
                  </a:lnTo>
                  <a:lnTo>
                    <a:pt x="24" y="198"/>
                  </a:lnTo>
                  <a:lnTo>
                    <a:pt x="42" y="234"/>
                  </a:lnTo>
                  <a:lnTo>
                    <a:pt x="12" y="22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3" name="Freeform 272"/>
            <p:cNvSpPr>
              <a:spLocks/>
            </p:cNvSpPr>
            <p:nvPr/>
          </p:nvSpPr>
          <p:spPr bwMode="auto">
            <a:xfrm>
              <a:off x="7294395" y="4020028"/>
              <a:ext cx="130090" cy="185216"/>
            </a:xfrm>
            <a:custGeom>
              <a:avLst/>
              <a:gdLst>
                <a:gd name="T0" fmla="*/ 2147483646 w 108"/>
                <a:gd name="T1" fmla="*/ 2147483646 h 151"/>
                <a:gd name="T2" fmla="*/ 0 w 108"/>
                <a:gd name="T3" fmla="*/ 2147483646 h 151"/>
                <a:gd name="T4" fmla="*/ 2147483646 w 108"/>
                <a:gd name="T5" fmla="*/ 2147483646 h 151"/>
                <a:gd name="T6" fmla="*/ 2147483646 w 108"/>
                <a:gd name="T7" fmla="*/ 2147483646 h 151"/>
                <a:gd name="T8" fmla="*/ 2147483646 w 108"/>
                <a:gd name="T9" fmla="*/ 2147483646 h 151"/>
                <a:gd name="T10" fmla="*/ 2147483646 w 108"/>
                <a:gd name="T11" fmla="*/ 2147483646 h 151"/>
                <a:gd name="T12" fmla="*/ 2147483646 w 108"/>
                <a:gd name="T13" fmla="*/ 2147483646 h 151"/>
                <a:gd name="T14" fmla="*/ 2147483646 w 108"/>
                <a:gd name="T15" fmla="*/ 2147483646 h 151"/>
                <a:gd name="T16" fmla="*/ 2147483646 w 108"/>
                <a:gd name="T17" fmla="*/ 2147483646 h 151"/>
                <a:gd name="T18" fmla="*/ 2147483646 w 108"/>
                <a:gd name="T19" fmla="*/ 2147483646 h 151"/>
                <a:gd name="T20" fmla="*/ 2147483646 w 108"/>
                <a:gd name="T21" fmla="*/ 2147483646 h 151"/>
                <a:gd name="T22" fmla="*/ 2147483646 w 108"/>
                <a:gd name="T23" fmla="*/ 2147483646 h 151"/>
                <a:gd name="T24" fmla="*/ 2147483646 w 108"/>
                <a:gd name="T25" fmla="*/ 2147483646 h 151"/>
                <a:gd name="T26" fmla="*/ 2147483646 w 108"/>
                <a:gd name="T27" fmla="*/ 0 h 151"/>
                <a:gd name="T28" fmla="*/ 2147483646 w 108"/>
                <a:gd name="T29" fmla="*/ 2147483646 h 1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8" h="151">
                  <a:moveTo>
                    <a:pt x="12" y="18"/>
                  </a:moveTo>
                  <a:lnTo>
                    <a:pt x="0" y="42"/>
                  </a:lnTo>
                  <a:lnTo>
                    <a:pt x="6" y="72"/>
                  </a:lnTo>
                  <a:lnTo>
                    <a:pt x="18" y="85"/>
                  </a:lnTo>
                  <a:lnTo>
                    <a:pt x="36" y="91"/>
                  </a:lnTo>
                  <a:lnTo>
                    <a:pt x="72" y="109"/>
                  </a:lnTo>
                  <a:lnTo>
                    <a:pt x="78" y="139"/>
                  </a:lnTo>
                  <a:lnTo>
                    <a:pt x="108" y="151"/>
                  </a:lnTo>
                  <a:lnTo>
                    <a:pt x="102" y="127"/>
                  </a:lnTo>
                  <a:lnTo>
                    <a:pt x="78" y="91"/>
                  </a:lnTo>
                  <a:lnTo>
                    <a:pt x="42" y="66"/>
                  </a:lnTo>
                  <a:lnTo>
                    <a:pt x="48" y="48"/>
                  </a:lnTo>
                  <a:lnTo>
                    <a:pt x="54" y="12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4" name="Freeform 273"/>
            <p:cNvSpPr>
              <a:spLocks/>
            </p:cNvSpPr>
            <p:nvPr/>
          </p:nvSpPr>
          <p:spPr bwMode="auto">
            <a:xfrm>
              <a:off x="7347016" y="4235360"/>
              <a:ext cx="106703" cy="87338"/>
            </a:xfrm>
            <a:custGeom>
              <a:avLst/>
              <a:gdLst>
                <a:gd name="T0" fmla="*/ 0 w 90"/>
                <a:gd name="T1" fmla="*/ 2147483646 h 72"/>
                <a:gd name="T2" fmla="*/ 2147483646 w 90"/>
                <a:gd name="T3" fmla="*/ 2147483646 h 72"/>
                <a:gd name="T4" fmla="*/ 2147483646 w 90"/>
                <a:gd name="T5" fmla="*/ 2147483646 h 72"/>
                <a:gd name="T6" fmla="*/ 2147483646 w 90"/>
                <a:gd name="T7" fmla="*/ 0 h 72"/>
                <a:gd name="T8" fmla="*/ 2147483646 w 90"/>
                <a:gd name="T9" fmla="*/ 2147483646 h 72"/>
                <a:gd name="T10" fmla="*/ 2147483646 w 90"/>
                <a:gd name="T11" fmla="*/ 2147483646 h 72"/>
                <a:gd name="T12" fmla="*/ 2147483646 w 90"/>
                <a:gd name="T13" fmla="*/ 2147483646 h 72"/>
                <a:gd name="T14" fmla="*/ 2147483646 w 90"/>
                <a:gd name="T15" fmla="*/ 2147483646 h 72"/>
                <a:gd name="T16" fmla="*/ 2147483646 w 90"/>
                <a:gd name="T17" fmla="*/ 2147483646 h 72"/>
                <a:gd name="T18" fmla="*/ 0 w 90"/>
                <a:gd name="T19" fmla="*/ 2147483646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0" h="72">
                  <a:moveTo>
                    <a:pt x="0" y="54"/>
                  </a:moveTo>
                  <a:lnTo>
                    <a:pt x="18" y="24"/>
                  </a:lnTo>
                  <a:lnTo>
                    <a:pt x="42" y="24"/>
                  </a:lnTo>
                  <a:lnTo>
                    <a:pt x="60" y="0"/>
                  </a:lnTo>
                  <a:lnTo>
                    <a:pt x="90" y="24"/>
                  </a:lnTo>
                  <a:lnTo>
                    <a:pt x="90" y="72"/>
                  </a:lnTo>
                  <a:lnTo>
                    <a:pt x="60" y="60"/>
                  </a:lnTo>
                  <a:lnTo>
                    <a:pt x="42" y="60"/>
                  </a:lnTo>
                  <a:lnTo>
                    <a:pt x="24" y="48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5" name="Freeform 333"/>
            <p:cNvSpPr>
              <a:spLocks/>
            </p:cNvSpPr>
            <p:nvPr/>
          </p:nvSpPr>
          <p:spPr bwMode="auto">
            <a:xfrm>
              <a:off x="6570859" y="3027691"/>
              <a:ext cx="716227" cy="370432"/>
            </a:xfrm>
            <a:custGeom>
              <a:avLst/>
              <a:gdLst>
                <a:gd name="T0" fmla="*/ 2147483646 w 595"/>
                <a:gd name="T1" fmla="*/ 2147483646 h 301"/>
                <a:gd name="T2" fmla="*/ 2147483646 w 595"/>
                <a:gd name="T3" fmla="*/ 2147483646 h 301"/>
                <a:gd name="T4" fmla="*/ 2147483646 w 595"/>
                <a:gd name="T5" fmla="*/ 2147483646 h 301"/>
                <a:gd name="T6" fmla="*/ 2147483646 w 595"/>
                <a:gd name="T7" fmla="*/ 2147483646 h 301"/>
                <a:gd name="T8" fmla="*/ 2147483646 w 595"/>
                <a:gd name="T9" fmla="*/ 2147483646 h 301"/>
                <a:gd name="T10" fmla="*/ 2147483646 w 595"/>
                <a:gd name="T11" fmla="*/ 2147483646 h 301"/>
                <a:gd name="T12" fmla="*/ 2147483646 w 595"/>
                <a:gd name="T13" fmla="*/ 2147483646 h 301"/>
                <a:gd name="T14" fmla="*/ 2147483646 w 595"/>
                <a:gd name="T15" fmla="*/ 2147483646 h 301"/>
                <a:gd name="T16" fmla="*/ 2147483646 w 595"/>
                <a:gd name="T17" fmla="*/ 2147483646 h 301"/>
                <a:gd name="T18" fmla="*/ 2147483646 w 595"/>
                <a:gd name="T19" fmla="*/ 2147483646 h 301"/>
                <a:gd name="T20" fmla="*/ 2147483646 w 595"/>
                <a:gd name="T21" fmla="*/ 2147483646 h 301"/>
                <a:gd name="T22" fmla="*/ 2147483646 w 595"/>
                <a:gd name="T23" fmla="*/ 2147483646 h 301"/>
                <a:gd name="T24" fmla="*/ 2147483646 w 595"/>
                <a:gd name="T25" fmla="*/ 2147483646 h 301"/>
                <a:gd name="T26" fmla="*/ 2147483646 w 595"/>
                <a:gd name="T27" fmla="*/ 2147483646 h 301"/>
                <a:gd name="T28" fmla="*/ 2147483646 w 595"/>
                <a:gd name="T29" fmla="*/ 2147483646 h 301"/>
                <a:gd name="T30" fmla="*/ 2147483646 w 595"/>
                <a:gd name="T31" fmla="*/ 2147483646 h 301"/>
                <a:gd name="T32" fmla="*/ 2147483646 w 595"/>
                <a:gd name="T33" fmla="*/ 2147483646 h 301"/>
                <a:gd name="T34" fmla="*/ 2147483646 w 595"/>
                <a:gd name="T35" fmla="*/ 2147483646 h 301"/>
                <a:gd name="T36" fmla="*/ 2147483646 w 595"/>
                <a:gd name="T37" fmla="*/ 2147483646 h 301"/>
                <a:gd name="T38" fmla="*/ 2147483646 w 595"/>
                <a:gd name="T39" fmla="*/ 2147483646 h 301"/>
                <a:gd name="T40" fmla="*/ 2147483646 w 595"/>
                <a:gd name="T41" fmla="*/ 2147483646 h 301"/>
                <a:gd name="T42" fmla="*/ 2147483646 w 595"/>
                <a:gd name="T43" fmla="*/ 0 h 301"/>
                <a:gd name="T44" fmla="*/ 2147483646 w 595"/>
                <a:gd name="T45" fmla="*/ 2147483646 h 301"/>
                <a:gd name="T46" fmla="*/ 2147483646 w 595"/>
                <a:gd name="T47" fmla="*/ 2147483646 h 301"/>
                <a:gd name="T48" fmla="*/ 2147483646 w 595"/>
                <a:gd name="T49" fmla="*/ 2147483646 h 301"/>
                <a:gd name="T50" fmla="*/ 2147483646 w 595"/>
                <a:gd name="T51" fmla="*/ 2147483646 h 301"/>
                <a:gd name="T52" fmla="*/ 2147483646 w 595"/>
                <a:gd name="T53" fmla="*/ 2147483646 h 301"/>
                <a:gd name="T54" fmla="*/ 0 w 595"/>
                <a:gd name="T55" fmla="*/ 2147483646 h 301"/>
                <a:gd name="T56" fmla="*/ 2147483646 w 595"/>
                <a:gd name="T57" fmla="*/ 2147483646 h 301"/>
                <a:gd name="T58" fmla="*/ 2147483646 w 595"/>
                <a:gd name="T59" fmla="*/ 2147483646 h 30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595" h="301">
                  <a:moveTo>
                    <a:pt x="42" y="126"/>
                  </a:moveTo>
                  <a:lnTo>
                    <a:pt x="48" y="186"/>
                  </a:lnTo>
                  <a:lnTo>
                    <a:pt x="127" y="210"/>
                  </a:lnTo>
                  <a:lnTo>
                    <a:pt x="181" y="264"/>
                  </a:lnTo>
                  <a:lnTo>
                    <a:pt x="253" y="270"/>
                  </a:lnTo>
                  <a:lnTo>
                    <a:pt x="313" y="301"/>
                  </a:lnTo>
                  <a:lnTo>
                    <a:pt x="379" y="258"/>
                  </a:lnTo>
                  <a:lnTo>
                    <a:pt x="445" y="252"/>
                  </a:lnTo>
                  <a:lnTo>
                    <a:pt x="457" y="210"/>
                  </a:lnTo>
                  <a:lnTo>
                    <a:pt x="499" y="192"/>
                  </a:lnTo>
                  <a:lnTo>
                    <a:pt x="541" y="174"/>
                  </a:lnTo>
                  <a:lnTo>
                    <a:pt x="595" y="156"/>
                  </a:lnTo>
                  <a:lnTo>
                    <a:pt x="583" y="132"/>
                  </a:lnTo>
                  <a:lnTo>
                    <a:pt x="529" y="126"/>
                  </a:lnTo>
                  <a:lnTo>
                    <a:pt x="529" y="96"/>
                  </a:lnTo>
                  <a:lnTo>
                    <a:pt x="541" y="72"/>
                  </a:lnTo>
                  <a:lnTo>
                    <a:pt x="499" y="60"/>
                  </a:lnTo>
                  <a:lnTo>
                    <a:pt x="403" y="84"/>
                  </a:lnTo>
                  <a:lnTo>
                    <a:pt x="367" y="54"/>
                  </a:lnTo>
                  <a:lnTo>
                    <a:pt x="307" y="54"/>
                  </a:lnTo>
                  <a:lnTo>
                    <a:pt x="289" y="36"/>
                  </a:lnTo>
                  <a:lnTo>
                    <a:pt x="217" y="0"/>
                  </a:lnTo>
                  <a:lnTo>
                    <a:pt x="193" y="30"/>
                  </a:lnTo>
                  <a:lnTo>
                    <a:pt x="169" y="66"/>
                  </a:lnTo>
                  <a:lnTo>
                    <a:pt x="121" y="48"/>
                  </a:lnTo>
                  <a:lnTo>
                    <a:pt x="54" y="54"/>
                  </a:lnTo>
                  <a:lnTo>
                    <a:pt x="12" y="78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2" y="1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6" name="Line 449"/>
            <p:cNvSpPr>
              <a:spLocks noChangeShapeType="1"/>
            </p:cNvSpPr>
            <p:nvPr/>
          </p:nvSpPr>
          <p:spPr bwMode="auto">
            <a:xfrm>
              <a:off x="7259315" y="4036592"/>
              <a:ext cx="0" cy="0"/>
            </a:xfrm>
            <a:prstGeom prst="line">
              <a:avLst/>
            </a:prstGeom>
            <a:solidFill>
              <a:schemeClr val="bg1">
                <a:lumMod val="75000"/>
              </a:schemeClr>
            </a:solidFill>
            <a:ln w="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7" name="Freeform 506"/>
            <p:cNvSpPr>
              <a:spLocks/>
            </p:cNvSpPr>
            <p:nvPr/>
          </p:nvSpPr>
          <p:spPr bwMode="auto">
            <a:xfrm>
              <a:off x="7396713" y="3358972"/>
              <a:ext cx="114012" cy="147571"/>
            </a:xfrm>
            <a:custGeom>
              <a:avLst/>
              <a:gdLst>
                <a:gd name="T0" fmla="*/ 2147483646 w 78"/>
                <a:gd name="T1" fmla="*/ 2147483646 h 98"/>
                <a:gd name="T2" fmla="*/ 2147483646 w 78"/>
                <a:gd name="T3" fmla="*/ 2147483646 h 98"/>
                <a:gd name="T4" fmla="*/ 2147483646 w 78"/>
                <a:gd name="T5" fmla="*/ 2147483646 h 98"/>
                <a:gd name="T6" fmla="*/ 2147483646 w 78"/>
                <a:gd name="T7" fmla="*/ 2147483646 h 98"/>
                <a:gd name="T8" fmla="*/ 0 w 78"/>
                <a:gd name="T9" fmla="*/ 2147483646 h 98"/>
                <a:gd name="T10" fmla="*/ 0 w 78"/>
                <a:gd name="T11" fmla="*/ 2147483646 h 98"/>
                <a:gd name="T12" fmla="*/ 2147483646 w 78"/>
                <a:gd name="T13" fmla="*/ 2147483646 h 98"/>
                <a:gd name="T14" fmla="*/ 2147483646 w 78"/>
                <a:gd name="T15" fmla="*/ 2147483646 h 98"/>
                <a:gd name="T16" fmla="*/ 2147483646 w 78"/>
                <a:gd name="T17" fmla="*/ 2147483646 h 98"/>
                <a:gd name="T18" fmla="*/ 2147483646 w 78"/>
                <a:gd name="T19" fmla="*/ 2147483646 h 98"/>
                <a:gd name="T20" fmla="*/ 2147483646 w 78"/>
                <a:gd name="T21" fmla="*/ 2147483646 h 98"/>
                <a:gd name="T22" fmla="*/ 2147483646 w 78"/>
                <a:gd name="T23" fmla="*/ 2147483646 h 98"/>
                <a:gd name="T24" fmla="*/ 2147483646 w 78"/>
                <a:gd name="T25" fmla="*/ 2147483646 h 98"/>
                <a:gd name="T26" fmla="*/ 2147483646 w 78"/>
                <a:gd name="T27" fmla="*/ 2147483646 h 98"/>
                <a:gd name="T28" fmla="*/ 2147483646 w 78"/>
                <a:gd name="T29" fmla="*/ 2147483646 h 98"/>
                <a:gd name="T30" fmla="*/ 2147483646 w 78"/>
                <a:gd name="T31" fmla="*/ 2147483646 h 98"/>
                <a:gd name="T32" fmla="*/ 2147483646 w 78"/>
                <a:gd name="T33" fmla="*/ 2147483646 h 98"/>
                <a:gd name="T34" fmla="*/ 2147483646 w 78"/>
                <a:gd name="T35" fmla="*/ 2147483646 h 98"/>
                <a:gd name="T36" fmla="*/ 2147483646 w 78"/>
                <a:gd name="T37" fmla="*/ 2147483646 h 98"/>
                <a:gd name="T38" fmla="*/ 2147483646 w 78"/>
                <a:gd name="T39" fmla="*/ 2147483646 h 98"/>
                <a:gd name="T40" fmla="*/ 2147483646 w 78"/>
                <a:gd name="T41" fmla="*/ 2147483646 h 98"/>
                <a:gd name="T42" fmla="*/ 2147483646 w 78"/>
                <a:gd name="T43" fmla="*/ 2147483646 h 98"/>
                <a:gd name="T44" fmla="*/ 2147483646 w 78"/>
                <a:gd name="T45" fmla="*/ 2147483646 h 98"/>
                <a:gd name="T46" fmla="*/ 2147483646 w 78"/>
                <a:gd name="T47" fmla="*/ 2147483646 h 98"/>
                <a:gd name="T48" fmla="*/ 2147483646 w 78"/>
                <a:gd name="T49" fmla="*/ 2147483646 h 98"/>
                <a:gd name="T50" fmla="*/ 2147483646 w 78"/>
                <a:gd name="T51" fmla="*/ 2147483646 h 98"/>
                <a:gd name="T52" fmla="*/ 2147483646 w 78"/>
                <a:gd name="T53" fmla="*/ 2147483646 h 98"/>
                <a:gd name="T54" fmla="*/ 2147483646 w 78"/>
                <a:gd name="T55" fmla="*/ 2147483646 h 98"/>
                <a:gd name="T56" fmla="*/ 2147483646 w 78"/>
                <a:gd name="T57" fmla="*/ 2147483646 h 98"/>
                <a:gd name="T58" fmla="*/ 2147483646 w 78"/>
                <a:gd name="T59" fmla="*/ 2147483646 h 98"/>
                <a:gd name="T60" fmla="*/ 2147483646 w 78"/>
                <a:gd name="T61" fmla="*/ 2147483646 h 98"/>
                <a:gd name="T62" fmla="*/ 2147483646 w 78"/>
                <a:gd name="T63" fmla="*/ 0 h 98"/>
                <a:gd name="T64" fmla="*/ 2147483646 w 78"/>
                <a:gd name="T65" fmla="*/ 2147483646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8" h="98">
                  <a:moveTo>
                    <a:pt x="32" y="12"/>
                  </a:moveTo>
                  <a:lnTo>
                    <a:pt x="34" y="32"/>
                  </a:lnTo>
                  <a:lnTo>
                    <a:pt x="20" y="22"/>
                  </a:lnTo>
                  <a:lnTo>
                    <a:pt x="6" y="34"/>
                  </a:lnTo>
                  <a:lnTo>
                    <a:pt x="0" y="56"/>
                  </a:lnTo>
                  <a:lnTo>
                    <a:pt x="6" y="56"/>
                  </a:lnTo>
                  <a:lnTo>
                    <a:pt x="10" y="56"/>
                  </a:lnTo>
                  <a:lnTo>
                    <a:pt x="30" y="70"/>
                  </a:lnTo>
                  <a:lnTo>
                    <a:pt x="34" y="84"/>
                  </a:lnTo>
                  <a:lnTo>
                    <a:pt x="36" y="92"/>
                  </a:lnTo>
                  <a:lnTo>
                    <a:pt x="40" y="98"/>
                  </a:lnTo>
                  <a:lnTo>
                    <a:pt x="70" y="88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78"/>
                  </a:lnTo>
                  <a:lnTo>
                    <a:pt x="64" y="76"/>
                  </a:lnTo>
                  <a:lnTo>
                    <a:pt x="64" y="60"/>
                  </a:lnTo>
                  <a:lnTo>
                    <a:pt x="64" y="46"/>
                  </a:lnTo>
                  <a:lnTo>
                    <a:pt x="54" y="26"/>
                  </a:lnTo>
                  <a:lnTo>
                    <a:pt x="64" y="16"/>
                  </a:lnTo>
                  <a:lnTo>
                    <a:pt x="78" y="4"/>
                  </a:lnTo>
                  <a:lnTo>
                    <a:pt x="52" y="0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8" name="Freeform 517"/>
            <p:cNvSpPr>
              <a:spLocks/>
            </p:cNvSpPr>
            <p:nvPr/>
          </p:nvSpPr>
          <p:spPr bwMode="auto">
            <a:xfrm>
              <a:off x="7440564" y="3491484"/>
              <a:ext cx="78931" cy="99384"/>
            </a:xfrm>
            <a:custGeom>
              <a:avLst/>
              <a:gdLst>
                <a:gd name="T0" fmla="*/ 2147483646 w 54"/>
                <a:gd name="T1" fmla="*/ 2147483646 h 66"/>
                <a:gd name="T2" fmla="*/ 2147483646 w 54"/>
                <a:gd name="T3" fmla="*/ 2147483646 h 66"/>
                <a:gd name="T4" fmla="*/ 2147483646 w 54"/>
                <a:gd name="T5" fmla="*/ 2147483646 h 66"/>
                <a:gd name="T6" fmla="*/ 2147483646 w 54"/>
                <a:gd name="T7" fmla="*/ 2147483646 h 66"/>
                <a:gd name="T8" fmla="*/ 0 w 54"/>
                <a:gd name="T9" fmla="*/ 2147483646 h 66"/>
                <a:gd name="T10" fmla="*/ 0 w 54"/>
                <a:gd name="T11" fmla="*/ 2147483646 h 66"/>
                <a:gd name="T12" fmla="*/ 2147483646 w 54"/>
                <a:gd name="T13" fmla="*/ 2147483646 h 66"/>
                <a:gd name="T14" fmla="*/ 2147483646 w 54"/>
                <a:gd name="T15" fmla="*/ 2147483646 h 66"/>
                <a:gd name="T16" fmla="*/ 2147483646 w 54"/>
                <a:gd name="T17" fmla="*/ 2147483646 h 66"/>
                <a:gd name="T18" fmla="*/ 2147483646 w 54"/>
                <a:gd name="T19" fmla="*/ 2147483646 h 66"/>
                <a:gd name="T20" fmla="*/ 2147483646 w 54"/>
                <a:gd name="T21" fmla="*/ 2147483646 h 66"/>
                <a:gd name="T22" fmla="*/ 2147483646 w 54"/>
                <a:gd name="T23" fmla="*/ 2147483646 h 66"/>
                <a:gd name="T24" fmla="*/ 2147483646 w 54"/>
                <a:gd name="T25" fmla="*/ 2147483646 h 66"/>
                <a:gd name="T26" fmla="*/ 2147483646 w 54"/>
                <a:gd name="T27" fmla="*/ 0 h 66"/>
                <a:gd name="T28" fmla="*/ 2147483646 w 54"/>
                <a:gd name="T29" fmla="*/ 2147483646 h 66"/>
                <a:gd name="T30" fmla="*/ 2147483646 w 54"/>
                <a:gd name="T31" fmla="*/ 2147483646 h 66"/>
                <a:gd name="T32" fmla="*/ 2147483646 w 54"/>
                <a:gd name="T33" fmla="*/ 2147483646 h 66"/>
                <a:gd name="T34" fmla="*/ 2147483646 w 54"/>
                <a:gd name="T35" fmla="*/ 2147483646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66">
                  <a:moveTo>
                    <a:pt x="10" y="12"/>
                  </a:moveTo>
                  <a:lnTo>
                    <a:pt x="10" y="12"/>
                  </a:lnTo>
                  <a:lnTo>
                    <a:pt x="10" y="36"/>
                  </a:lnTo>
                  <a:lnTo>
                    <a:pt x="0" y="66"/>
                  </a:lnTo>
                  <a:lnTo>
                    <a:pt x="20" y="66"/>
                  </a:lnTo>
                  <a:lnTo>
                    <a:pt x="40" y="60"/>
                  </a:lnTo>
                  <a:lnTo>
                    <a:pt x="50" y="52"/>
                  </a:lnTo>
                  <a:lnTo>
                    <a:pt x="54" y="36"/>
                  </a:lnTo>
                  <a:lnTo>
                    <a:pt x="40" y="0"/>
                  </a:lnTo>
                  <a:lnTo>
                    <a:pt x="10" y="10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9" name="Freeform 411"/>
            <p:cNvSpPr>
              <a:spLocks/>
            </p:cNvSpPr>
            <p:nvPr/>
          </p:nvSpPr>
          <p:spPr bwMode="auto">
            <a:xfrm>
              <a:off x="3096429" y="5135842"/>
              <a:ext cx="116935" cy="158112"/>
            </a:xfrm>
            <a:custGeom>
              <a:avLst/>
              <a:gdLst>
                <a:gd name="T0" fmla="*/ 2147483646 w 102"/>
                <a:gd name="T1" fmla="*/ 2147483646 h 114"/>
                <a:gd name="T2" fmla="*/ 2147483646 w 102"/>
                <a:gd name="T3" fmla="*/ 2147483646 h 114"/>
                <a:gd name="T4" fmla="*/ 2147483646 w 102"/>
                <a:gd name="T5" fmla="*/ 0 h 114"/>
                <a:gd name="T6" fmla="*/ 2147483646 w 102"/>
                <a:gd name="T7" fmla="*/ 2147483646 h 114"/>
                <a:gd name="T8" fmla="*/ 0 w 102"/>
                <a:gd name="T9" fmla="*/ 2147483646 h 114"/>
                <a:gd name="T10" fmla="*/ 0 w 102"/>
                <a:gd name="T11" fmla="*/ 2147483646 h 114"/>
                <a:gd name="T12" fmla="*/ 2147483646 w 102"/>
                <a:gd name="T13" fmla="*/ 2147483646 h 114"/>
                <a:gd name="T14" fmla="*/ 2147483646 w 102"/>
                <a:gd name="T15" fmla="*/ 2147483646 h 114"/>
                <a:gd name="T16" fmla="*/ 2147483646 w 102"/>
                <a:gd name="T17" fmla="*/ 2147483646 h 114"/>
                <a:gd name="T18" fmla="*/ 2147483646 w 102"/>
                <a:gd name="T19" fmla="*/ 2147483646 h 114"/>
                <a:gd name="T20" fmla="*/ 2147483646 w 102"/>
                <a:gd name="T21" fmla="*/ 2147483646 h 114"/>
                <a:gd name="T22" fmla="*/ 2147483646 w 102"/>
                <a:gd name="T23" fmla="*/ 2147483646 h 114"/>
                <a:gd name="T24" fmla="*/ 2147483646 w 102"/>
                <a:gd name="T25" fmla="*/ 2147483646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2" h="114">
                  <a:moveTo>
                    <a:pt x="66" y="24"/>
                  </a:moveTo>
                  <a:lnTo>
                    <a:pt x="36" y="6"/>
                  </a:lnTo>
                  <a:lnTo>
                    <a:pt x="18" y="0"/>
                  </a:lnTo>
                  <a:lnTo>
                    <a:pt x="6" y="18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24" y="96"/>
                  </a:lnTo>
                  <a:lnTo>
                    <a:pt x="36" y="108"/>
                  </a:lnTo>
                  <a:lnTo>
                    <a:pt x="66" y="114"/>
                  </a:lnTo>
                  <a:lnTo>
                    <a:pt x="96" y="90"/>
                  </a:lnTo>
                  <a:lnTo>
                    <a:pt x="102" y="78"/>
                  </a:lnTo>
                  <a:lnTo>
                    <a:pt x="84" y="42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0" name="Freeform 420"/>
            <p:cNvSpPr>
              <a:spLocks/>
            </p:cNvSpPr>
            <p:nvPr/>
          </p:nvSpPr>
          <p:spPr bwMode="auto">
            <a:xfrm>
              <a:off x="2592147" y="4480810"/>
              <a:ext cx="295261" cy="371938"/>
            </a:xfrm>
            <a:custGeom>
              <a:avLst/>
              <a:gdLst>
                <a:gd name="T0" fmla="*/ 2147483646 w 240"/>
                <a:gd name="T1" fmla="*/ 2147483646 h 337"/>
                <a:gd name="T2" fmla="*/ 2147483646 w 240"/>
                <a:gd name="T3" fmla="*/ 2147483646 h 337"/>
                <a:gd name="T4" fmla="*/ 2147483646 w 240"/>
                <a:gd name="T5" fmla="*/ 2147483646 h 337"/>
                <a:gd name="T6" fmla="*/ 2147483646 w 240"/>
                <a:gd name="T7" fmla="*/ 2147483646 h 337"/>
                <a:gd name="T8" fmla="*/ 2147483646 w 240"/>
                <a:gd name="T9" fmla="*/ 2147483646 h 337"/>
                <a:gd name="T10" fmla="*/ 2147483646 w 240"/>
                <a:gd name="T11" fmla="*/ 2147483646 h 337"/>
                <a:gd name="T12" fmla="*/ 2147483646 w 240"/>
                <a:gd name="T13" fmla="*/ 2147483646 h 337"/>
                <a:gd name="T14" fmla="*/ 2147483646 w 240"/>
                <a:gd name="T15" fmla="*/ 2147483646 h 337"/>
                <a:gd name="T16" fmla="*/ 2147483646 w 240"/>
                <a:gd name="T17" fmla="*/ 2147483646 h 337"/>
                <a:gd name="T18" fmla="*/ 2147483646 w 240"/>
                <a:gd name="T19" fmla="*/ 2147483646 h 337"/>
                <a:gd name="T20" fmla="*/ 2147483646 w 240"/>
                <a:gd name="T21" fmla="*/ 2147483646 h 337"/>
                <a:gd name="T22" fmla="*/ 2147483646 w 240"/>
                <a:gd name="T23" fmla="*/ 2147483646 h 337"/>
                <a:gd name="T24" fmla="*/ 2147483646 w 240"/>
                <a:gd name="T25" fmla="*/ 2147483646 h 337"/>
                <a:gd name="T26" fmla="*/ 2147483646 w 240"/>
                <a:gd name="T27" fmla="*/ 0 h 337"/>
                <a:gd name="T28" fmla="*/ 2147483646 w 240"/>
                <a:gd name="T29" fmla="*/ 0 h 337"/>
                <a:gd name="T30" fmla="*/ 2147483646 w 240"/>
                <a:gd name="T31" fmla="*/ 2147483646 h 337"/>
                <a:gd name="T32" fmla="*/ 2147483646 w 240"/>
                <a:gd name="T33" fmla="*/ 2147483646 h 337"/>
                <a:gd name="T34" fmla="*/ 2147483646 w 240"/>
                <a:gd name="T35" fmla="*/ 2147483646 h 337"/>
                <a:gd name="T36" fmla="*/ 2147483646 w 240"/>
                <a:gd name="T37" fmla="*/ 2147483646 h 337"/>
                <a:gd name="T38" fmla="*/ 2147483646 w 240"/>
                <a:gd name="T39" fmla="*/ 2147483646 h 337"/>
                <a:gd name="T40" fmla="*/ 2147483646 w 240"/>
                <a:gd name="T41" fmla="*/ 2147483646 h 337"/>
                <a:gd name="T42" fmla="*/ 0 w 240"/>
                <a:gd name="T43" fmla="*/ 2147483646 h 337"/>
                <a:gd name="T44" fmla="*/ 2147483646 w 240"/>
                <a:gd name="T45" fmla="*/ 2147483646 h 337"/>
                <a:gd name="T46" fmla="*/ 2147483646 w 240"/>
                <a:gd name="T47" fmla="*/ 2147483646 h 337"/>
                <a:gd name="T48" fmla="*/ 2147483646 w 240"/>
                <a:gd name="T49" fmla="*/ 2147483646 h 337"/>
                <a:gd name="T50" fmla="*/ 2147483646 w 240"/>
                <a:gd name="T51" fmla="*/ 2147483646 h 337"/>
                <a:gd name="T52" fmla="*/ 2147483646 w 240"/>
                <a:gd name="T53" fmla="*/ 2147483646 h 337"/>
                <a:gd name="T54" fmla="*/ 2147483646 w 240"/>
                <a:gd name="T55" fmla="*/ 2147483646 h 337"/>
                <a:gd name="T56" fmla="*/ 2147483646 w 240"/>
                <a:gd name="T57" fmla="*/ 2147483646 h 337"/>
                <a:gd name="T58" fmla="*/ 2147483646 w 240"/>
                <a:gd name="T59" fmla="*/ 2147483646 h 337"/>
                <a:gd name="T60" fmla="*/ 2147483646 w 240"/>
                <a:gd name="T61" fmla="*/ 2147483646 h 337"/>
                <a:gd name="T62" fmla="*/ 2147483646 w 240"/>
                <a:gd name="T63" fmla="*/ 2147483646 h 33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0" h="337">
                  <a:moveTo>
                    <a:pt x="228" y="204"/>
                  </a:moveTo>
                  <a:lnTo>
                    <a:pt x="228" y="198"/>
                  </a:lnTo>
                  <a:lnTo>
                    <a:pt x="216" y="198"/>
                  </a:lnTo>
                  <a:lnTo>
                    <a:pt x="210" y="162"/>
                  </a:lnTo>
                  <a:lnTo>
                    <a:pt x="180" y="174"/>
                  </a:lnTo>
                  <a:lnTo>
                    <a:pt x="156" y="156"/>
                  </a:lnTo>
                  <a:lnTo>
                    <a:pt x="156" y="120"/>
                  </a:lnTo>
                  <a:lnTo>
                    <a:pt x="180" y="84"/>
                  </a:lnTo>
                  <a:lnTo>
                    <a:pt x="198" y="72"/>
                  </a:lnTo>
                  <a:lnTo>
                    <a:pt x="204" y="54"/>
                  </a:lnTo>
                  <a:lnTo>
                    <a:pt x="192" y="36"/>
                  </a:lnTo>
                  <a:lnTo>
                    <a:pt x="168" y="36"/>
                  </a:lnTo>
                  <a:lnTo>
                    <a:pt x="150" y="18"/>
                  </a:lnTo>
                  <a:lnTo>
                    <a:pt x="120" y="0"/>
                  </a:lnTo>
                  <a:lnTo>
                    <a:pt x="108" y="24"/>
                  </a:lnTo>
                  <a:lnTo>
                    <a:pt x="84" y="48"/>
                  </a:lnTo>
                  <a:lnTo>
                    <a:pt x="66" y="54"/>
                  </a:lnTo>
                  <a:lnTo>
                    <a:pt x="42" y="78"/>
                  </a:lnTo>
                  <a:lnTo>
                    <a:pt x="24" y="72"/>
                  </a:lnTo>
                  <a:lnTo>
                    <a:pt x="18" y="60"/>
                  </a:lnTo>
                  <a:lnTo>
                    <a:pt x="0" y="72"/>
                  </a:lnTo>
                  <a:lnTo>
                    <a:pt x="18" y="114"/>
                  </a:lnTo>
                  <a:lnTo>
                    <a:pt x="54" y="174"/>
                  </a:lnTo>
                  <a:lnTo>
                    <a:pt x="90" y="252"/>
                  </a:lnTo>
                  <a:lnTo>
                    <a:pt x="90" y="264"/>
                  </a:lnTo>
                  <a:lnTo>
                    <a:pt x="216" y="337"/>
                  </a:lnTo>
                  <a:lnTo>
                    <a:pt x="222" y="337"/>
                  </a:lnTo>
                  <a:lnTo>
                    <a:pt x="228" y="307"/>
                  </a:lnTo>
                  <a:lnTo>
                    <a:pt x="234" y="270"/>
                  </a:lnTo>
                  <a:lnTo>
                    <a:pt x="240" y="222"/>
                  </a:lnTo>
                  <a:lnTo>
                    <a:pt x="228" y="204"/>
                  </a:lnTo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1" name="Freeform 413"/>
            <p:cNvSpPr>
              <a:spLocks/>
            </p:cNvSpPr>
            <p:nvPr/>
          </p:nvSpPr>
          <p:spPr bwMode="auto">
            <a:xfrm>
              <a:off x="2780705" y="4363356"/>
              <a:ext cx="814159" cy="864342"/>
            </a:xfrm>
            <a:custGeom>
              <a:avLst/>
              <a:gdLst>
                <a:gd name="T0" fmla="*/ 2147483646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2147483646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2147483646 h 10000"/>
                <a:gd name="T20" fmla="*/ 2147483646 w 10000"/>
                <a:gd name="T21" fmla="*/ 2147483646 h 10000"/>
                <a:gd name="T22" fmla="*/ 2147483646 w 10000"/>
                <a:gd name="T23" fmla="*/ 2147483646 h 10000"/>
                <a:gd name="T24" fmla="*/ 2147483646 w 10000"/>
                <a:gd name="T25" fmla="*/ 2147483646 h 10000"/>
                <a:gd name="T26" fmla="*/ 2147483646 w 10000"/>
                <a:gd name="T27" fmla="*/ 2147483646 h 10000"/>
                <a:gd name="T28" fmla="*/ 2147483646 w 10000"/>
                <a:gd name="T29" fmla="*/ 2147483646 h 10000"/>
                <a:gd name="T30" fmla="*/ 2147483646 w 10000"/>
                <a:gd name="T31" fmla="*/ 2147483646 h 10000"/>
                <a:gd name="T32" fmla="*/ 2147483646 w 10000"/>
                <a:gd name="T33" fmla="*/ 2147483646 h 10000"/>
                <a:gd name="T34" fmla="*/ 2147483646 w 10000"/>
                <a:gd name="T35" fmla="*/ 2147483646 h 10000"/>
                <a:gd name="T36" fmla="*/ 2147483646 w 10000"/>
                <a:gd name="T37" fmla="*/ 2147483646 h 10000"/>
                <a:gd name="T38" fmla="*/ 2147483646 w 10000"/>
                <a:gd name="T39" fmla="*/ 2147483646 h 10000"/>
                <a:gd name="T40" fmla="*/ 2147483646 w 10000"/>
                <a:gd name="T41" fmla="*/ 2147483646 h 10000"/>
                <a:gd name="T42" fmla="*/ 2147483646 w 10000"/>
                <a:gd name="T43" fmla="*/ 2147483646 h 10000"/>
                <a:gd name="T44" fmla="*/ 2147483646 w 10000"/>
                <a:gd name="T45" fmla="*/ 2147483646 h 10000"/>
                <a:gd name="T46" fmla="*/ 2147483646 w 10000"/>
                <a:gd name="T47" fmla="*/ 2147483646 h 10000"/>
                <a:gd name="T48" fmla="*/ 2147483646 w 10000"/>
                <a:gd name="T49" fmla="*/ 0 h 10000"/>
                <a:gd name="T50" fmla="*/ 2147483646 w 10000"/>
                <a:gd name="T51" fmla="*/ 2147483646 h 10000"/>
                <a:gd name="T52" fmla="*/ 2147483646 w 10000"/>
                <a:gd name="T53" fmla="*/ 2147483646 h 10000"/>
                <a:gd name="T54" fmla="*/ 2147483646 w 10000"/>
                <a:gd name="T55" fmla="*/ 2147483646 h 10000"/>
                <a:gd name="T56" fmla="*/ 2147483646 w 10000"/>
                <a:gd name="T57" fmla="*/ 2147483646 h 10000"/>
                <a:gd name="T58" fmla="*/ 2147483646 w 10000"/>
                <a:gd name="T59" fmla="*/ 2147483646 h 10000"/>
                <a:gd name="T60" fmla="*/ 2147483646 w 10000"/>
                <a:gd name="T61" fmla="*/ 2147483646 h 10000"/>
                <a:gd name="T62" fmla="*/ 0 w 10000"/>
                <a:gd name="T63" fmla="*/ 2147483646 h 10000"/>
                <a:gd name="T64" fmla="*/ 2147483646 w 10000"/>
                <a:gd name="T65" fmla="*/ 2147483646 h 10000"/>
                <a:gd name="T66" fmla="*/ 2147483646 w 10000"/>
                <a:gd name="T67" fmla="*/ 2147483646 h 10000"/>
                <a:gd name="T68" fmla="*/ 2147483646 w 10000"/>
                <a:gd name="T69" fmla="*/ 2147483646 h 10000"/>
                <a:gd name="T70" fmla="*/ 2147483646 w 10000"/>
                <a:gd name="T71" fmla="*/ 2147483646 h 10000"/>
                <a:gd name="T72" fmla="*/ 2147483646 w 10000"/>
                <a:gd name="T73" fmla="*/ 2147483646 h 10000"/>
                <a:gd name="T74" fmla="*/ 2147483646 w 10000"/>
                <a:gd name="T75" fmla="*/ 2147483646 h 10000"/>
                <a:gd name="T76" fmla="*/ 2147483646 w 10000"/>
                <a:gd name="T77" fmla="*/ 2147483646 h 10000"/>
                <a:gd name="T78" fmla="*/ 2147483646 w 10000"/>
                <a:gd name="T79" fmla="*/ 2147483646 h 10000"/>
                <a:gd name="T80" fmla="*/ 2147483646 w 10000"/>
                <a:gd name="T81" fmla="*/ 2147483646 h 1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0">
                  <a:moveTo>
                    <a:pt x="5000" y="7769"/>
                  </a:moveTo>
                  <a:cubicBezTo>
                    <a:pt x="5027" y="7795"/>
                    <a:pt x="5055" y="7820"/>
                    <a:pt x="5082" y="7846"/>
                  </a:cubicBezTo>
                  <a:cubicBezTo>
                    <a:pt x="5027" y="8000"/>
                    <a:pt x="4973" y="8154"/>
                    <a:pt x="4918" y="8308"/>
                  </a:cubicBezTo>
                  <a:lnTo>
                    <a:pt x="4672" y="8462"/>
                  </a:lnTo>
                  <a:lnTo>
                    <a:pt x="4098" y="9000"/>
                  </a:lnTo>
                  <a:lnTo>
                    <a:pt x="4180" y="9000"/>
                  </a:lnTo>
                  <a:lnTo>
                    <a:pt x="4098" y="9000"/>
                  </a:lnTo>
                  <a:lnTo>
                    <a:pt x="4344" y="9077"/>
                  </a:lnTo>
                  <a:lnTo>
                    <a:pt x="4754" y="9308"/>
                  </a:lnTo>
                  <a:lnTo>
                    <a:pt x="5000" y="9538"/>
                  </a:lnTo>
                  <a:lnTo>
                    <a:pt x="5246" y="10000"/>
                  </a:lnTo>
                  <a:cubicBezTo>
                    <a:pt x="5273" y="9923"/>
                    <a:pt x="5301" y="9846"/>
                    <a:pt x="5328" y="9769"/>
                  </a:cubicBezTo>
                  <a:lnTo>
                    <a:pt x="5656" y="9462"/>
                  </a:lnTo>
                  <a:lnTo>
                    <a:pt x="6066" y="9077"/>
                  </a:lnTo>
                  <a:lnTo>
                    <a:pt x="6393" y="8077"/>
                  </a:lnTo>
                  <a:lnTo>
                    <a:pt x="6639" y="7615"/>
                  </a:lnTo>
                  <a:lnTo>
                    <a:pt x="7541" y="7077"/>
                  </a:lnTo>
                  <a:lnTo>
                    <a:pt x="8115" y="7000"/>
                  </a:lnTo>
                  <a:lnTo>
                    <a:pt x="8279" y="6923"/>
                  </a:lnTo>
                  <a:lnTo>
                    <a:pt x="8443" y="6615"/>
                  </a:lnTo>
                  <a:cubicBezTo>
                    <a:pt x="8470" y="6513"/>
                    <a:pt x="8498" y="6410"/>
                    <a:pt x="8525" y="6308"/>
                  </a:cubicBezTo>
                  <a:cubicBezTo>
                    <a:pt x="8607" y="6180"/>
                    <a:pt x="8688" y="6051"/>
                    <a:pt x="8770" y="5923"/>
                  </a:cubicBezTo>
                  <a:cubicBezTo>
                    <a:pt x="8797" y="5872"/>
                    <a:pt x="8825" y="5820"/>
                    <a:pt x="8852" y="5769"/>
                  </a:cubicBezTo>
                  <a:cubicBezTo>
                    <a:pt x="8879" y="5333"/>
                    <a:pt x="8907" y="4898"/>
                    <a:pt x="8934" y="4462"/>
                  </a:cubicBezTo>
                  <a:lnTo>
                    <a:pt x="9180" y="4385"/>
                  </a:lnTo>
                  <a:lnTo>
                    <a:pt x="10000" y="3385"/>
                  </a:lnTo>
                  <a:lnTo>
                    <a:pt x="10000" y="3154"/>
                  </a:lnTo>
                  <a:cubicBezTo>
                    <a:pt x="9945" y="2974"/>
                    <a:pt x="9891" y="2795"/>
                    <a:pt x="9836" y="2615"/>
                  </a:cubicBezTo>
                  <a:lnTo>
                    <a:pt x="9344" y="2462"/>
                  </a:lnTo>
                  <a:lnTo>
                    <a:pt x="8607" y="2077"/>
                  </a:lnTo>
                  <a:lnTo>
                    <a:pt x="7787" y="2000"/>
                  </a:lnTo>
                  <a:lnTo>
                    <a:pt x="7541" y="1923"/>
                  </a:lnTo>
                  <a:lnTo>
                    <a:pt x="7377" y="1692"/>
                  </a:lnTo>
                  <a:lnTo>
                    <a:pt x="6721" y="1462"/>
                  </a:lnTo>
                  <a:lnTo>
                    <a:pt x="6148" y="1154"/>
                  </a:lnTo>
                  <a:cubicBezTo>
                    <a:pt x="6121" y="1051"/>
                    <a:pt x="6093" y="949"/>
                    <a:pt x="6066" y="846"/>
                  </a:cubicBezTo>
                  <a:lnTo>
                    <a:pt x="5820" y="231"/>
                  </a:lnTo>
                  <a:lnTo>
                    <a:pt x="5738" y="231"/>
                  </a:lnTo>
                  <a:lnTo>
                    <a:pt x="5410" y="692"/>
                  </a:lnTo>
                  <a:lnTo>
                    <a:pt x="5082" y="846"/>
                  </a:lnTo>
                  <a:cubicBezTo>
                    <a:pt x="5055" y="820"/>
                    <a:pt x="5027" y="795"/>
                    <a:pt x="5000" y="769"/>
                  </a:cubicBezTo>
                  <a:lnTo>
                    <a:pt x="4590" y="769"/>
                  </a:lnTo>
                  <a:lnTo>
                    <a:pt x="4426" y="846"/>
                  </a:lnTo>
                  <a:lnTo>
                    <a:pt x="4344" y="846"/>
                  </a:lnTo>
                  <a:lnTo>
                    <a:pt x="3934" y="923"/>
                  </a:lnTo>
                  <a:lnTo>
                    <a:pt x="3689" y="1000"/>
                  </a:lnTo>
                  <a:lnTo>
                    <a:pt x="3443" y="769"/>
                  </a:lnTo>
                  <a:cubicBezTo>
                    <a:pt x="3470" y="615"/>
                    <a:pt x="3498" y="462"/>
                    <a:pt x="3525" y="308"/>
                  </a:cubicBezTo>
                  <a:lnTo>
                    <a:pt x="3361" y="77"/>
                  </a:lnTo>
                  <a:lnTo>
                    <a:pt x="3197" y="0"/>
                  </a:lnTo>
                  <a:cubicBezTo>
                    <a:pt x="3224" y="51"/>
                    <a:pt x="3252" y="103"/>
                    <a:pt x="3279" y="154"/>
                  </a:cubicBezTo>
                  <a:lnTo>
                    <a:pt x="2869" y="308"/>
                  </a:lnTo>
                  <a:lnTo>
                    <a:pt x="2213" y="308"/>
                  </a:lnTo>
                  <a:lnTo>
                    <a:pt x="2459" y="692"/>
                  </a:lnTo>
                  <a:cubicBezTo>
                    <a:pt x="2486" y="769"/>
                    <a:pt x="2514" y="846"/>
                    <a:pt x="2541" y="923"/>
                  </a:cubicBezTo>
                  <a:lnTo>
                    <a:pt x="1803" y="1154"/>
                  </a:lnTo>
                  <a:lnTo>
                    <a:pt x="1557" y="923"/>
                  </a:lnTo>
                  <a:lnTo>
                    <a:pt x="902" y="1077"/>
                  </a:lnTo>
                  <a:cubicBezTo>
                    <a:pt x="929" y="1205"/>
                    <a:pt x="957" y="1334"/>
                    <a:pt x="984" y="1462"/>
                  </a:cubicBezTo>
                  <a:cubicBezTo>
                    <a:pt x="929" y="1744"/>
                    <a:pt x="875" y="2026"/>
                    <a:pt x="820" y="2308"/>
                  </a:cubicBezTo>
                  <a:cubicBezTo>
                    <a:pt x="765" y="2257"/>
                    <a:pt x="711" y="2205"/>
                    <a:pt x="656" y="2154"/>
                  </a:cubicBezTo>
                  <a:cubicBezTo>
                    <a:pt x="629" y="2231"/>
                    <a:pt x="601" y="2308"/>
                    <a:pt x="574" y="2385"/>
                  </a:cubicBezTo>
                  <a:lnTo>
                    <a:pt x="328" y="2538"/>
                  </a:lnTo>
                  <a:lnTo>
                    <a:pt x="0" y="3000"/>
                  </a:lnTo>
                  <a:lnTo>
                    <a:pt x="0" y="3462"/>
                  </a:lnTo>
                  <a:lnTo>
                    <a:pt x="328" y="3692"/>
                  </a:lnTo>
                  <a:lnTo>
                    <a:pt x="738" y="3538"/>
                  </a:lnTo>
                  <a:cubicBezTo>
                    <a:pt x="765" y="3692"/>
                    <a:pt x="793" y="3846"/>
                    <a:pt x="820" y="4000"/>
                  </a:cubicBezTo>
                  <a:lnTo>
                    <a:pt x="984" y="4000"/>
                  </a:lnTo>
                  <a:lnTo>
                    <a:pt x="984" y="4077"/>
                  </a:lnTo>
                  <a:cubicBezTo>
                    <a:pt x="1311" y="4000"/>
                    <a:pt x="1240" y="3993"/>
                    <a:pt x="1311" y="4000"/>
                  </a:cubicBezTo>
                  <a:cubicBezTo>
                    <a:pt x="1382" y="4007"/>
                    <a:pt x="1378" y="4124"/>
                    <a:pt x="1411" y="4121"/>
                  </a:cubicBezTo>
                  <a:cubicBezTo>
                    <a:pt x="1487" y="4047"/>
                    <a:pt x="1644" y="3939"/>
                    <a:pt x="1720" y="3900"/>
                  </a:cubicBezTo>
                  <a:cubicBezTo>
                    <a:pt x="1796" y="3861"/>
                    <a:pt x="1787" y="3873"/>
                    <a:pt x="1869" y="3886"/>
                  </a:cubicBezTo>
                  <a:cubicBezTo>
                    <a:pt x="1951" y="3899"/>
                    <a:pt x="2074" y="3776"/>
                    <a:pt x="2131" y="3846"/>
                  </a:cubicBezTo>
                  <a:cubicBezTo>
                    <a:pt x="2188" y="3916"/>
                    <a:pt x="2186" y="4154"/>
                    <a:pt x="2213" y="4308"/>
                  </a:cubicBezTo>
                  <a:lnTo>
                    <a:pt x="2705" y="4538"/>
                  </a:lnTo>
                  <a:lnTo>
                    <a:pt x="3279" y="4769"/>
                  </a:lnTo>
                  <a:lnTo>
                    <a:pt x="3279" y="5077"/>
                  </a:lnTo>
                  <a:lnTo>
                    <a:pt x="3443" y="5308"/>
                  </a:lnTo>
                  <a:cubicBezTo>
                    <a:pt x="3525" y="5308"/>
                    <a:pt x="3934" y="5385"/>
                    <a:pt x="3934" y="5385"/>
                  </a:cubicBezTo>
                  <a:lnTo>
                    <a:pt x="3934" y="5692"/>
                  </a:lnTo>
                  <a:lnTo>
                    <a:pt x="3934" y="6231"/>
                  </a:lnTo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2" name="Freeform 409"/>
            <p:cNvSpPr>
              <a:spLocks/>
            </p:cNvSpPr>
            <p:nvPr/>
          </p:nvSpPr>
          <p:spPr bwMode="auto">
            <a:xfrm>
              <a:off x="2769011" y="4934062"/>
              <a:ext cx="435583" cy="898976"/>
            </a:xfrm>
            <a:custGeom>
              <a:avLst/>
              <a:gdLst>
                <a:gd name="T0" fmla="*/ 2147483646 w 10000"/>
                <a:gd name="T1" fmla="*/ 2147483646 h 10001"/>
                <a:gd name="T2" fmla="*/ 2147483646 w 10000"/>
                <a:gd name="T3" fmla="*/ 2147483646 h 10001"/>
                <a:gd name="T4" fmla="*/ 2147483646 w 10000"/>
                <a:gd name="T5" fmla="*/ 2147483646 h 10001"/>
                <a:gd name="T6" fmla="*/ 2147483646 w 10000"/>
                <a:gd name="T7" fmla="*/ 2147483646 h 10001"/>
                <a:gd name="T8" fmla="*/ 2147483646 w 10000"/>
                <a:gd name="T9" fmla="*/ 2147483646 h 10001"/>
                <a:gd name="T10" fmla="*/ 2147483646 w 10000"/>
                <a:gd name="T11" fmla="*/ 2147483646 h 10001"/>
                <a:gd name="T12" fmla="*/ 2147483646 w 10000"/>
                <a:gd name="T13" fmla="*/ 2147483646 h 10001"/>
                <a:gd name="T14" fmla="*/ 2147483646 w 10000"/>
                <a:gd name="T15" fmla="*/ 2147483646 h 10001"/>
                <a:gd name="T16" fmla="*/ 2147483646 w 10000"/>
                <a:gd name="T17" fmla="*/ 2147483646 h 10001"/>
                <a:gd name="T18" fmla="*/ 2147483646 w 10000"/>
                <a:gd name="T19" fmla="*/ 2147483646 h 10001"/>
                <a:gd name="T20" fmla="*/ 2147483646 w 10000"/>
                <a:gd name="T21" fmla="*/ 2147483646 h 10001"/>
                <a:gd name="T22" fmla="*/ 2147483646 w 10000"/>
                <a:gd name="T23" fmla="*/ 2147483646 h 10001"/>
                <a:gd name="T24" fmla="*/ 2147483646 w 10000"/>
                <a:gd name="T25" fmla="*/ 2147483646 h 10001"/>
                <a:gd name="T26" fmla="*/ 2147483646 w 10000"/>
                <a:gd name="T27" fmla="*/ 2147483646 h 10001"/>
                <a:gd name="T28" fmla="*/ 2147483646 w 10000"/>
                <a:gd name="T29" fmla="*/ 0 h 10001"/>
                <a:gd name="T30" fmla="*/ 2147483646 w 10000"/>
                <a:gd name="T31" fmla="*/ 2147483646 h 10001"/>
                <a:gd name="T32" fmla="*/ 2147483646 w 10000"/>
                <a:gd name="T33" fmla="*/ 2147483646 h 10001"/>
                <a:gd name="T34" fmla="*/ 2147483646 w 10000"/>
                <a:gd name="T35" fmla="*/ 2147483646 h 10001"/>
                <a:gd name="T36" fmla="*/ 2147483646 w 10000"/>
                <a:gd name="T37" fmla="*/ 2147483646 h 10001"/>
                <a:gd name="T38" fmla="*/ 2147483646 w 10000"/>
                <a:gd name="T39" fmla="*/ 2147483646 h 10001"/>
                <a:gd name="T40" fmla="*/ 2147483646 w 10000"/>
                <a:gd name="T41" fmla="*/ 2147483646 h 10001"/>
                <a:gd name="T42" fmla="*/ 2147483646 w 10000"/>
                <a:gd name="T43" fmla="*/ 2147483646 h 10001"/>
                <a:gd name="T44" fmla="*/ 2147483646 w 10000"/>
                <a:gd name="T45" fmla="*/ 2147483646 h 10001"/>
                <a:gd name="T46" fmla="*/ 2147483646 w 10000"/>
                <a:gd name="T47" fmla="*/ 2147483646 h 10001"/>
                <a:gd name="T48" fmla="*/ 2147483646 w 10000"/>
                <a:gd name="T49" fmla="*/ 2147483646 h 10001"/>
                <a:gd name="T50" fmla="*/ 2147483646 w 10000"/>
                <a:gd name="T51" fmla="*/ 2147483646 h 10001"/>
                <a:gd name="T52" fmla="*/ 2147483646 w 10000"/>
                <a:gd name="T53" fmla="*/ 2147483646 h 10001"/>
                <a:gd name="T54" fmla="*/ 2147483646 w 10000"/>
                <a:gd name="T55" fmla="*/ 2147483646 h 10001"/>
                <a:gd name="T56" fmla="*/ 2147483646 w 10000"/>
                <a:gd name="T57" fmla="*/ 2147483646 h 10001"/>
                <a:gd name="T58" fmla="*/ 2147483646 w 10000"/>
                <a:gd name="T59" fmla="*/ 2147483646 h 10001"/>
                <a:gd name="T60" fmla="*/ 2147483646 w 10000"/>
                <a:gd name="T61" fmla="*/ 2147483646 h 10001"/>
                <a:gd name="T62" fmla="*/ 2147483646 w 10000"/>
                <a:gd name="T63" fmla="*/ 2147483646 h 10001"/>
                <a:gd name="T64" fmla="*/ 2147483646 w 10000"/>
                <a:gd name="T65" fmla="*/ 2147483646 h 10001"/>
                <a:gd name="T66" fmla="*/ 0 w 10000"/>
                <a:gd name="T67" fmla="*/ 2147483646 h 10001"/>
                <a:gd name="T68" fmla="*/ 2147483646 w 10000"/>
                <a:gd name="T69" fmla="*/ 2147483646 h 10001"/>
                <a:gd name="T70" fmla="*/ 2147483646 w 10000"/>
                <a:gd name="T71" fmla="*/ 2147483646 h 10001"/>
                <a:gd name="T72" fmla="*/ 2147483646 w 10000"/>
                <a:gd name="T73" fmla="*/ 2147483646 h 10001"/>
                <a:gd name="T74" fmla="*/ 2147483646 w 10000"/>
                <a:gd name="T75" fmla="*/ 2147483646 h 10001"/>
                <a:gd name="T76" fmla="*/ 2147483646 w 10000"/>
                <a:gd name="T77" fmla="*/ 2147483646 h 10001"/>
                <a:gd name="T78" fmla="*/ 2147483646 w 10000"/>
                <a:gd name="T79" fmla="*/ 2147483646 h 10001"/>
                <a:gd name="T80" fmla="*/ 2147483646 w 10000"/>
                <a:gd name="T81" fmla="*/ 2147483646 h 10001"/>
                <a:gd name="T82" fmla="*/ 2147483646 w 10000"/>
                <a:gd name="T83" fmla="*/ 2147483646 h 10001"/>
                <a:gd name="T84" fmla="*/ 2147483646 w 10000"/>
                <a:gd name="T85" fmla="*/ 2147483646 h 10001"/>
                <a:gd name="T86" fmla="*/ 2147483646 w 10000"/>
                <a:gd name="T87" fmla="*/ 2147483646 h 10001"/>
                <a:gd name="T88" fmla="*/ 2147483646 w 10000"/>
                <a:gd name="T89" fmla="*/ 2147483646 h 10001"/>
                <a:gd name="T90" fmla="*/ 2147483646 w 10000"/>
                <a:gd name="T91" fmla="*/ 2147483646 h 10001"/>
                <a:gd name="T92" fmla="*/ 2147483646 w 10000"/>
                <a:gd name="T93" fmla="*/ 2147483646 h 10001"/>
                <a:gd name="T94" fmla="*/ 2147483646 w 10000"/>
                <a:gd name="T95" fmla="*/ 2147483646 h 10001"/>
                <a:gd name="T96" fmla="*/ 2147483646 w 10000"/>
                <a:gd name="T97" fmla="*/ 2147483646 h 10001"/>
                <a:gd name="T98" fmla="*/ 2147483646 w 10000"/>
                <a:gd name="T99" fmla="*/ 2147483646 h 10001"/>
                <a:gd name="T100" fmla="*/ 2147483646 w 10000"/>
                <a:gd name="T101" fmla="*/ 2147483646 h 10001"/>
                <a:gd name="T102" fmla="*/ 2147483646 w 10000"/>
                <a:gd name="T103" fmla="*/ 2147483646 h 10001"/>
                <a:gd name="T104" fmla="*/ 2147483646 w 10000"/>
                <a:gd name="T105" fmla="*/ 2147483646 h 10001"/>
                <a:gd name="T106" fmla="*/ 2147483646 w 10000"/>
                <a:gd name="T107" fmla="*/ 2147483646 h 10001"/>
                <a:gd name="T108" fmla="*/ 2147483646 w 10000"/>
                <a:gd name="T109" fmla="*/ 2147483646 h 10001"/>
                <a:gd name="T110" fmla="*/ 2147483646 w 10000"/>
                <a:gd name="T111" fmla="*/ 2147483646 h 10001"/>
                <a:gd name="T112" fmla="*/ 2147483646 w 10000"/>
                <a:gd name="T113" fmla="*/ 2147483646 h 10001"/>
                <a:gd name="T114" fmla="*/ 2147483646 w 10000"/>
                <a:gd name="T115" fmla="*/ 2147483646 h 10001"/>
                <a:gd name="T116" fmla="*/ 2147483646 w 10000"/>
                <a:gd name="T117" fmla="*/ 2147483646 h 10001"/>
                <a:gd name="T118" fmla="*/ 2147483646 w 10000"/>
                <a:gd name="T119" fmla="*/ 2147483646 h 10001"/>
                <a:gd name="T120" fmla="*/ 2147483646 w 10000"/>
                <a:gd name="T121" fmla="*/ 2147483646 h 10001"/>
                <a:gd name="T122" fmla="*/ 2147483646 w 10000"/>
                <a:gd name="T123" fmla="*/ 2147483646 h 10001"/>
                <a:gd name="T124" fmla="*/ 2147483646 w 10000"/>
                <a:gd name="T125" fmla="*/ 2147483646 h 100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000" h="10001">
                  <a:moveTo>
                    <a:pt x="7581" y="2950"/>
                  </a:moveTo>
                  <a:cubicBezTo>
                    <a:pt x="7635" y="2818"/>
                    <a:pt x="7688" y="2685"/>
                    <a:pt x="7742" y="2552"/>
                  </a:cubicBezTo>
                  <a:lnTo>
                    <a:pt x="8065" y="2312"/>
                  </a:lnTo>
                  <a:lnTo>
                    <a:pt x="9194" y="1754"/>
                  </a:lnTo>
                  <a:lnTo>
                    <a:pt x="9677" y="1595"/>
                  </a:lnTo>
                  <a:lnTo>
                    <a:pt x="10000" y="1116"/>
                  </a:lnTo>
                  <a:lnTo>
                    <a:pt x="9839" y="1037"/>
                  </a:lnTo>
                  <a:lnTo>
                    <a:pt x="9355" y="1197"/>
                  </a:lnTo>
                  <a:lnTo>
                    <a:pt x="8387" y="1435"/>
                  </a:lnTo>
                  <a:lnTo>
                    <a:pt x="7581" y="1356"/>
                  </a:lnTo>
                  <a:cubicBezTo>
                    <a:pt x="7635" y="1170"/>
                    <a:pt x="7688" y="983"/>
                    <a:pt x="7742" y="797"/>
                  </a:cubicBezTo>
                  <a:lnTo>
                    <a:pt x="7258" y="638"/>
                  </a:lnTo>
                  <a:lnTo>
                    <a:pt x="6290" y="479"/>
                  </a:lnTo>
                  <a:lnTo>
                    <a:pt x="5806" y="319"/>
                  </a:lnTo>
                  <a:lnTo>
                    <a:pt x="5323" y="0"/>
                  </a:lnTo>
                  <a:lnTo>
                    <a:pt x="4677" y="81"/>
                  </a:lnTo>
                  <a:lnTo>
                    <a:pt x="4516" y="159"/>
                  </a:lnTo>
                  <a:lnTo>
                    <a:pt x="3710" y="81"/>
                  </a:lnTo>
                  <a:cubicBezTo>
                    <a:pt x="3387" y="81"/>
                    <a:pt x="3476" y="72"/>
                    <a:pt x="3387" y="81"/>
                  </a:cubicBezTo>
                  <a:cubicBezTo>
                    <a:pt x="3298" y="89"/>
                    <a:pt x="3178" y="131"/>
                    <a:pt x="3178" y="131"/>
                  </a:cubicBezTo>
                  <a:cubicBezTo>
                    <a:pt x="3339" y="211"/>
                    <a:pt x="3245" y="168"/>
                    <a:pt x="3226" y="240"/>
                  </a:cubicBezTo>
                  <a:cubicBezTo>
                    <a:pt x="3207" y="310"/>
                    <a:pt x="3065" y="558"/>
                    <a:pt x="3065" y="558"/>
                  </a:cubicBezTo>
                  <a:lnTo>
                    <a:pt x="2581" y="797"/>
                  </a:lnTo>
                  <a:lnTo>
                    <a:pt x="2581" y="1275"/>
                  </a:lnTo>
                  <a:lnTo>
                    <a:pt x="2258" y="1595"/>
                  </a:lnTo>
                  <a:lnTo>
                    <a:pt x="1774" y="2631"/>
                  </a:lnTo>
                  <a:cubicBezTo>
                    <a:pt x="1828" y="2896"/>
                    <a:pt x="1881" y="3163"/>
                    <a:pt x="1935" y="3428"/>
                  </a:cubicBezTo>
                  <a:lnTo>
                    <a:pt x="968" y="4466"/>
                  </a:lnTo>
                  <a:lnTo>
                    <a:pt x="806" y="5582"/>
                  </a:lnTo>
                  <a:lnTo>
                    <a:pt x="806" y="6141"/>
                  </a:lnTo>
                  <a:cubicBezTo>
                    <a:pt x="752" y="6327"/>
                    <a:pt x="699" y="6514"/>
                    <a:pt x="645" y="6699"/>
                  </a:cubicBezTo>
                  <a:lnTo>
                    <a:pt x="968" y="7019"/>
                  </a:lnTo>
                  <a:lnTo>
                    <a:pt x="484" y="8294"/>
                  </a:lnTo>
                  <a:lnTo>
                    <a:pt x="0" y="8852"/>
                  </a:lnTo>
                  <a:cubicBezTo>
                    <a:pt x="54" y="8985"/>
                    <a:pt x="47" y="9085"/>
                    <a:pt x="161" y="9251"/>
                  </a:cubicBezTo>
                  <a:cubicBezTo>
                    <a:pt x="275" y="9417"/>
                    <a:pt x="316" y="9724"/>
                    <a:pt x="685" y="9848"/>
                  </a:cubicBezTo>
                  <a:cubicBezTo>
                    <a:pt x="1054" y="9973"/>
                    <a:pt x="2126" y="10011"/>
                    <a:pt x="2375" y="10000"/>
                  </a:cubicBezTo>
                  <a:cubicBezTo>
                    <a:pt x="2624" y="9989"/>
                    <a:pt x="2202" y="9881"/>
                    <a:pt x="2182" y="9783"/>
                  </a:cubicBezTo>
                  <a:cubicBezTo>
                    <a:pt x="2163" y="9685"/>
                    <a:pt x="2172" y="9527"/>
                    <a:pt x="2258" y="9410"/>
                  </a:cubicBezTo>
                  <a:cubicBezTo>
                    <a:pt x="2345" y="9293"/>
                    <a:pt x="2550" y="9220"/>
                    <a:pt x="2701" y="9082"/>
                  </a:cubicBezTo>
                  <a:cubicBezTo>
                    <a:pt x="2852" y="8944"/>
                    <a:pt x="3004" y="8707"/>
                    <a:pt x="3165" y="8584"/>
                  </a:cubicBezTo>
                  <a:cubicBezTo>
                    <a:pt x="3326" y="8461"/>
                    <a:pt x="3550" y="8459"/>
                    <a:pt x="3668" y="8344"/>
                  </a:cubicBezTo>
                  <a:cubicBezTo>
                    <a:pt x="3786" y="8229"/>
                    <a:pt x="3918" y="7996"/>
                    <a:pt x="3871" y="7895"/>
                  </a:cubicBezTo>
                  <a:cubicBezTo>
                    <a:pt x="3824" y="7794"/>
                    <a:pt x="3548" y="7789"/>
                    <a:pt x="3387" y="7736"/>
                  </a:cubicBezTo>
                  <a:cubicBezTo>
                    <a:pt x="3280" y="7629"/>
                    <a:pt x="3000" y="7495"/>
                    <a:pt x="3065" y="7416"/>
                  </a:cubicBezTo>
                  <a:cubicBezTo>
                    <a:pt x="3130" y="7337"/>
                    <a:pt x="3541" y="7312"/>
                    <a:pt x="3779" y="7260"/>
                  </a:cubicBezTo>
                  <a:cubicBezTo>
                    <a:pt x="3810" y="7153"/>
                    <a:pt x="3875" y="7075"/>
                    <a:pt x="3971" y="6968"/>
                  </a:cubicBezTo>
                  <a:cubicBezTo>
                    <a:pt x="4067" y="6861"/>
                    <a:pt x="4220" y="6700"/>
                    <a:pt x="4355" y="6620"/>
                  </a:cubicBezTo>
                  <a:cubicBezTo>
                    <a:pt x="4490" y="6540"/>
                    <a:pt x="4699" y="6570"/>
                    <a:pt x="4780" y="6490"/>
                  </a:cubicBezTo>
                  <a:cubicBezTo>
                    <a:pt x="4861" y="6410"/>
                    <a:pt x="4853" y="6226"/>
                    <a:pt x="4839" y="6141"/>
                  </a:cubicBezTo>
                  <a:cubicBezTo>
                    <a:pt x="5323" y="5822"/>
                    <a:pt x="5348" y="5984"/>
                    <a:pt x="5437" y="5921"/>
                  </a:cubicBezTo>
                  <a:cubicBezTo>
                    <a:pt x="5526" y="5858"/>
                    <a:pt x="5368" y="5818"/>
                    <a:pt x="5376" y="5762"/>
                  </a:cubicBezTo>
                  <a:cubicBezTo>
                    <a:pt x="5384" y="5706"/>
                    <a:pt x="5412" y="5665"/>
                    <a:pt x="5484" y="5582"/>
                  </a:cubicBezTo>
                  <a:cubicBezTo>
                    <a:pt x="5556" y="5499"/>
                    <a:pt x="5622" y="5319"/>
                    <a:pt x="5806" y="5264"/>
                  </a:cubicBezTo>
                  <a:cubicBezTo>
                    <a:pt x="5990" y="5209"/>
                    <a:pt x="6266" y="5289"/>
                    <a:pt x="6588" y="5253"/>
                  </a:cubicBezTo>
                  <a:cubicBezTo>
                    <a:pt x="6910" y="5217"/>
                    <a:pt x="7468" y="5176"/>
                    <a:pt x="7741" y="5045"/>
                  </a:cubicBezTo>
                  <a:cubicBezTo>
                    <a:pt x="8014" y="4914"/>
                    <a:pt x="8092" y="4629"/>
                    <a:pt x="8226" y="4466"/>
                  </a:cubicBezTo>
                  <a:cubicBezTo>
                    <a:pt x="8361" y="4303"/>
                    <a:pt x="8441" y="4199"/>
                    <a:pt x="8548" y="4066"/>
                  </a:cubicBezTo>
                  <a:lnTo>
                    <a:pt x="8226" y="3748"/>
                  </a:lnTo>
                  <a:cubicBezTo>
                    <a:pt x="8065" y="3668"/>
                    <a:pt x="7825" y="3557"/>
                    <a:pt x="7742" y="3509"/>
                  </a:cubicBezTo>
                  <a:cubicBezTo>
                    <a:pt x="7659" y="3461"/>
                    <a:pt x="7731" y="3475"/>
                    <a:pt x="7726" y="3458"/>
                  </a:cubicBezTo>
                  <a:lnTo>
                    <a:pt x="7581" y="3350"/>
                  </a:lnTo>
                  <a:lnTo>
                    <a:pt x="7581" y="2950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3" name="Freeform 444"/>
            <p:cNvSpPr>
              <a:spLocks/>
            </p:cNvSpPr>
            <p:nvPr/>
          </p:nvSpPr>
          <p:spPr bwMode="auto">
            <a:xfrm>
              <a:off x="2710544" y="4839195"/>
              <a:ext cx="223638" cy="1118826"/>
            </a:xfrm>
            <a:custGeom>
              <a:avLst/>
              <a:gdLst>
                <a:gd name="T0" fmla="*/ 2147483646 w 14463"/>
                <a:gd name="T1" fmla="*/ 2147483646 h 11339"/>
                <a:gd name="T2" fmla="*/ 2147483646 w 14463"/>
                <a:gd name="T3" fmla="*/ 0 h 11339"/>
                <a:gd name="T4" fmla="*/ 2147483646 w 14463"/>
                <a:gd name="T5" fmla="*/ 2147483646 h 11339"/>
                <a:gd name="T6" fmla="*/ 2147483646 w 14463"/>
                <a:gd name="T7" fmla="*/ 2147483646 h 11339"/>
                <a:gd name="T8" fmla="*/ 2147483646 w 14463"/>
                <a:gd name="T9" fmla="*/ 2147483646 h 11339"/>
                <a:gd name="T10" fmla="*/ 2147483646 w 14463"/>
                <a:gd name="T11" fmla="*/ 2147483646 h 11339"/>
                <a:gd name="T12" fmla="*/ 2147483646 w 14463"/>
                <a:gd name="T13" fmla="*/ 2147483646 h 11339"/>
                <a:gd name="T14" fmla="*/ 2147483646 w 14463"/>
                <a:gd name="T15" fmla="*/ 2147483646 h 11339"/>
                <a:gd name="T16" fmla="*/ 2147483646 w 14463"/>
                <a:gd name="T17" fmla="*/ 2147483646 h 11339"/>
                <a:gd name="T18" fmla="*/ 2147483646 w 14463"/>
                <a:gd name="T19" fmla="*/ 2147483646 h 11339"/>
                <a:gd name="T20" fmla="*/ 2147483646 w 14463"/>
                <a:gd name="T21" fmla="*/ 2147483646 h 11339"/>
                <a:gd name="T22" fmla="*/ 2147483646 w 14463"/>
                <a:gd name="T23" fmla="*/ 2147483646 h 11339"/>
                <a:gd name="T24" fmla="*/ 2147483646 w 14463"/>
                <a:gd name="T25" fmla="*/ 2147483646 h 11339"/>
                <a:gd name="T26" fmla="*/ 2147483646 w 14463"/>
                <a:gd name="T27" fmla="*/ 2147483646 h 11339"/>
                <a:gd name="T28" fmla="*/ 2147483646 w 14463"/>
                <a:gd name="T29" fmla="*/ 2147483646 h 11339"/>
                <a:gd name="T30" fmla="*/ 2147483646 w 14463"/>
                <a:gd name="T31" fmla="*/ 2147483646 h 11339"/>
                <a:gd name="T32" fmla="*/ 2147483646 w 14463"/>
                <a:gd name="T33" fmla="*/ 2147483646 h 11339"/>
                <a:gd name="T34" fmla="*/ 2147483646 w 14463"/>
                <a:gd name="T35" fmla="*/ 2147483646 h 11339"/>
                <a:gd name="T36" fmla="*/ 2147483646 w 14463"/>
                <a:gd name="T37" fmla="*/ 2147483646 h 11339"/>
                <a:gd name="T38" fmla="*/ 2147483646 w 14463"/>
                <a:gd name="T39" fmla="*/ 2147483646 h 11339"/>
                <a:gd name="T40" fmla="*/ 2147483646 w 14463"/>
                <a:gd name="T41" fmla="*/ 2147483646 h 11339"/>
                <a:gd name="T42" fmla="*/ 2147483646 w 14463"/>
                <a:gd name="T43" fmla="*/ 2147483646 h 11339"/>
                <a:gd name="T44" fmla="*/ 2147483646 w 14463"/>
                <a:gd name="T45" fmla="*/ 2147483646 h 11339"/>
                <a:gd name="T46" fmla="*/ 2147483646 w 14463"/>
                <a:gd name="T47" fmla="*/ 2147483646 h 11339"/>
                <a:gd name="T48" fmla="*/ 2147483646 w 14463"/>
                <a:gd name="T49" fmla="*/ 2147483646 h 11339"/>
                <a:gd name="T50" fmla="*/ 2147483646 w 14463"/>
                <a:gd name="T51" fmla="*/ 2147483646 h 11339"/>
                <a:gd name="T52" fmla="*/ 2147483646 w 14463"/>
                <a:gd name="T53" fmla="*/ 2147483646 h 11339"/>
                <a:gd name="T54" fmla="*/ 2147483646 w 14463"/>
                <a:gd name="T55" fmla="*/ 2147483646 h 11339"/>
                <a:gd name="T56" fmla="*/ 2147483646 w 14463"/>
                <a:gd name="T57" fmla="*/ 2147483646 h 11339"/>
                <a:gd name="T58" fmla="*/ 2147483646 w 14463"/>
                <a:gd name="T59" fmla="*/ 2147483646 h 11339"/>
                <a:gd name="T60" fmla="*/ 2147483646 w 14463"/>
                <a:gd name="T61" fmla="*/ 2147483646 h 11339"/>
                <a:gd name="T62" fmla="*/ 2147483646 w 14463"/>
                <a:gd name="T63" fmla="*/ 2147483646 h 11339"/>
                <a:gd name="T64" fmla="*/ 0 w 14463"/>
                <a:gd name="T65" fmla="*/ 2147483646 h 11339"/>
                <a:gd name="T66" fmla="*/ 2147483646 w 14463"/>
                <a:gd name="T67" fmla="*/ 2147483646 h 11339"/>
                <a:gd name="T68" fmla="*/ 2147483646 w 14463"/>
                <a:gd name="T69" fmla="*/ 2147483646 h 11339"/>
                <a:gd name="T70" fmla="*/ 2147483646 w 14463"/>
                <a:gd name="T71" fmla="*/ 2147483646 h 11339"/>
                <a:gd name="T72" fmla="*/ 2147483646 w 14463"/>
                <a:gd name="T73" fmla="*/ 2147483646 h 11339"/>
                <a:gd name="T74" fmla="*/ 2147483646 w 14463"/>
                <a:gd name="T75" fmla="*/ 2147483646 h 11339"/>
                <a:gd name="T76" fmla="*/ 2147483646 w 14463"/>
                <a:gd name="T77" fmla="*/ 2147483646 h 11339"/>
                <a:gd name="T78" fmla="*/ 2147483646 w 14463"/>
                <a:gd name="T79" fmla="*/ 2147483646 h 11339"/>
                <a:gd name="T80" fmla="*/ 2147483646 w 14463"/>
                <a:gd name="T81" fmla="*/ 2147483646 h 11339"/>
                <a:gd name="T82" fmla="*/ 2147483646 w 14463"/>
                <a:gd name="T83" fmla="*/ 2147483646 h 11339"/>
                <a:gd name="T84" fmla="*/ 2147483646 w 14463"/>
                <a:gd name="T85" fmla="*/ 2147483646 h 11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63" h="11339">
                  <a:moveTo>
                    <a:pt x="8188" y="209"/>
                  </a:moveTo>
                  <a:lnTo>
                    <a:pt x="8780" y="0"/>
                  </a:lnTo>
                  <a:lnTo>
                    <a:pt x="10217" y="207"/>
                  </a:lnTo>
                  <a:cubicBezTo>
                    <a:pt x="10556" y="264"/>
                    <a:pt x="10640" y="126"/>
                    <a:pt x="10761" y="229"/>
                  </a:cubicBezTo>
                  <a:cubicBezTo>
                    <a:pt x="10936" y="271"/>
                    <a:pt x="11461" y="322"/>
                    <a:pt x="11696" y="417"/>
                  </a:cubicBezTo>
                  <a:cubicBezTo>
                    <a:pt x="11902" y="494"/>
                    <a:pt x="11642" y="593"/>
                    <a:pt x="11730" y="676"/>
                  </a:cubicBezTo>
                  <a:cubicBezTo>
                    <a:pt x="11818" y="759"/>
                    <a:pt x="12063" y="841"/>
                    <a:pt x="12227" y="913"/>
                  </a:cubicBezTo>
                  <a:lnTo>
                    <a:pt x="12983" y="1126"/>
                  </a:lnTo>
                  <a:lnTo>
                    <a:pt x="12748" y="1307"/>
                  </a:lnTo>
                  <a:cubicBezTo>
                    <a:pt x="12663" y="1515"/>
                    <a:pt x="11910" y="1697"/>
                    <a:pt x="11825" y="1905"/>
                  </a:cubicBezTo>
                  <a:lnTo>
                    <a:pt x="10725" y="2530"/>
                  </a:lnTo>
                  <a:lnTo>
                    <a:pt x="10429" y="2947"/>
                  </a:lnTo>
                  <a:cubicBezTo>
                    <a:pt x="10471" y="3165"/>
                    <a:pt x="10514" y="3383"/>
                    <a:pt x="10556" y="3601"/>
                  </a:cubicBezTo>
                  <a:lnTo>
                    <a:pt x="10852" y="3839"/>
                  </a:lnTo>
                  <a:lnTo>
                    <a:pt x="10345" y="3839"/>
                  </a:lnTo>
                  <a:lnTo>
                    <a:pt x="11191" y="4197"/>
                  </a:lnTo>
                  <a:cubicBezTo>
                    <a:pt x="11149" y="4405"/>
                    <a:pt x="11106" y="4613"/>
                    <a:pt x="11064" y="4821"/>
                  </a:cubicBezTo>
                  <a:lnTo>
                    <a:pt x="10599" y="5030"/>
                  </a:lnTo>
                  <a:lnTo>
                    <a:pt x="9456" y="5298"/>
                  </a:lnTo>
                  <a:lnTo>
                    <a:pt x="8822" y="6012"/>
                  </a:lnTo>
                  <a:lnTo>
                    <a:pt x="8272" y="6161"/>
                  </a:lnTo>
                  <a:lnTo>
                    <a:pt x="8526" y="6429"/>
                  </a:lnTo>
                  <a:lnTo>
                    <a:pt x="8145" y="7084"/>
                  </a:lnTo>
                  <a:lnTo>
                    <a:pt x="7299" y="7768"/>
                  </a:lnTo>
                  <a:lnTo>
                    <a:pt x="7383" y="8155"/>
                  </a:lnTo>
                  <a:lnTo>
                    <a:pt x="7680" y="8393"/>
                  </a:lnTo>
                  <a:cubicBezTo>
                    <a:pt x="7624" y="8571"/>
                    <a:pt x="7567" y="8750"/>
                    <a:pt x="7511" y="8928"/>
                  </a:cubicBezTo>
                  <a:lnTo>
                    <a:pt x="7003" y="9465"/>
                  </a:lnTo>
                  <a:lnTo>
                    <a:pt x="10190" y="10380"/>
                  </a:lnTo>
                  <a:cubicBezTo>
                    <a:pt x="10685" y="10621"/>
                    <a:pt x="15360" y="10855"/>
                    <a:pt x="14311" y="11050"/>
                  </a:cubicBezTo>
                  <a:cubicBezTo>
                    <a:pt x="11744" y="11422"/>
                    <a:pt x="9928" y="11345"/>
                    <a:pt x="8880" y="11304"/>
                  </a:cubicBezTo>
                  <a:lnTo>
                    <a:pt x="3686" y="10662"/>
                  </a:lnTo>
                  <a:lnTo>
                    <a:pt x="0" y="9499"/>
                  </a:lnTo>
                  <a:lnTo>
                    <a:pt x="1492" y="8492"/>
                  </a:lnTo>
                  <a:lnTo>
                    <a:pt x="2079" y="7943"/>
                  </a:lnTo>
                  <a:lnTo>
                    <a:pt x="4644" y="6748"/>
                  </a:lnTo>
                  <a:cubicBezTo>
                    <a:pt x="4630" y="6430"/>
                    <a:pt x="2665" y="7030"/>
                    <a:pt x="2651" y="6712"/>
                  </a:cubicBezTo>
                  <a:lnTo>
                    <a:pt x="4099" y="5323"/>
                  </a:lnTo>
                  <a:lnTo>
                    <a:pt x="5760" y="4554"/>
                  </a:lnTo>
                  <a:cubicBezTo>
                    <a:pt x="5651" y="3371"/>
                    <a:pt x="6192" y="4301"/>
                    <a:pt x="6082" y="3119"/>
                  </a:cubicBezTo>
                  <a:lnTo>
                    <a:pt x="7891" y="1548"/>
                  </a:lnTo>
                  <a:lnTo>
                    <a:pt x="8314" y="982"/>
                  </a:lnTo>
                  <a:lnTo>
                    <a:pt x="8188" y="209"/>
                  </a:ln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4" name="Freeform 410"/>
            <p:cNvSpPr>
              <a:spLocks/>
            </p:cNvSpPr>
            <p:nvPr/>
          </p:nvSpPr>
          <p:spPr bwMode="auto">
            <a:xfrm>
              <a:off x="3005805" y="4888887"/>
              <a:ext cx="184173" cy="177687"/>
            </a:xfrm>
            <a:custGeom>
              <a:avLst/>
              <a:gdLst>
                <a:gd name="T0" fmla="*/ 2147483646 w 168"/>
                <a:gd name="T1" fmla="*/ 0 h 156"/>
                <a:gd name="T2" fmla="*/ 0 w 168"/>
                <a:gd name="T3" fmla="*/ 2147483646 h 156"/>
                <a:gd name="T4" fmla="*/ 0 w 168"/>
                <a:gd name="T5" fmla="*/ 2147483646 h 156"/>
                <a:gd name="T6" fmla="*/ 2147483646 w 168"/>
                <a:gd name="T7" fmla="*/ 2147483646 h 156"/>
                <a:gd name="T8" fmla="*/ 2147483646 w 168"/>
                <a:gd name="T9" fmla="*/ 2147483646 h 156"/>
                <a:gd name="T10" fmla="*/ 2147483646 w 168"/>
                <a:gd name="T11" fmla="*/ 2147483646 h 156"/>
                <a:gd name="T12" fmla="*/ 2147483646 w 168"/>
                <a:gd name="T13" fmla="*/ 2147483646 h 156"/>
                <a:gd name="T14" fmla="*/ 2147483646 w 168"/>
                <a:gd name="T15" fmla="*/ 2147483646 h 156"/>
                <a:gd name="T16" fmla="*/ 2147483646 w 168"/>
                <a:gd name="T17" fmla="*/ 2147483646 h 156"/>
                <a:gd name="T18" fmla="*/ 2147483646 w 168"/>
                <a:gd name="T19" fmla="*/ 2147483646 h 156"/>
                <a:gd name="T20" fmla="*/ 2147483646 w 168"/>
                <a:gd name="T21" fmla="*/ 2147483646 h 156"/>
                <a:gd name="T22" fmla="*/ 2147483646 w 168"/>
                <a:gd name="T23" fmla="*/ 2147483646 h 156"/>
                <a:gd name="T24" fmla="*/ 2147483646 w 168"/>
                <a:gd name="T25" fmla="*/ 2147483646 h 156"/>
                <a:gd name="T26" fmla="*/ 2147483646 w 168"/>
                <a:gd name="T27" fmla="*/ 2147483646 h 156"/>
                <a:gd name="T28" fmla="*/ 2147483646 w 168"/>
                <a:gd name="T29" fmla="*/ 2147483646 h 156"/>
                <a:gd name="T30" fmla="*/ 2147483646 w 168"/>
                <a:gd name="T31" fmla="*/ 2147483646 h 156"/>
                <a:gd name="T32" fmla="*/ 2147483646 w 168"/>
                <a:gd name="T33" fmla="*/ 2147483646 h 156"/>
                <a:gd name="T34" fmla="*/ 2147483646 w 168"/>
                <a:gd name="T35" fmla="*/ 2147483646 h 156"/>
                <a:gd name="T36" fmla="*/ 2147483646 w 168"/>
                <a:gd name="T37" fmla="*/ 0 h 156"/>
                <a:gd name="T38" fmla="*/ 2147483646 w 168"/>
                <a:gd name="T39" fmla="*/ 0 h 1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156">
                  <a:moveTo>
                    <a:pt x="48" y="0"/>
                  </a:moveTo>
                  <a:lnTo>
                    <a:pt x="0" y="36"/>
                  </a:lnTo>
                  <a:lnTo>
                    <a:pt x="0" y="48"/>
                  </a:lnTo>
                  <a:lnTo>
                    <a:pt x="18" y="72"/>
                  </a:lnTo>
                  <a:lnTo>
                    <a:pt x="36" y="84"/>
                  </a:lnTo>
                  <a:lnTo>
                    <a:pt x="72" y="96"/>
                  </a:lnTo>
                  <a:lnTo>
                    <a:pt x="90" y="108"/>
                  </a:lnTo>
                  <a:lnTo>
                    <a:pt x="84" y="150"/>
                  </a:lnTo>
                  <a:lnTo>
                    <a:pt x="114" y="156"/>
                  </a:lnTo>
                  <a:lnTo>
                    <a:pt x="150" y="138"/>
                  </a:lnTo>
                  <a:lnTo>
                    <a:pt x="168" y="126"/>
                  </a:lnTo>
                  <a:lnTo>
                    <a:pt x="162" y="114"/>
                  </a:lnTo>
                  <a:lnTo>
                    <a:pt x="162" y="90"/>
                  </a:lnTo>
                  <a:lnTo>
                    <a:pt x="144" y="84"/>
                  </a:lnTo>
                  <a:lnTo>
                    <a:pt x="120" y="54"/>
                  </a:lnTo>
                  <a:lnTo>
                    <a:pt x="108" y="4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5" name="Freeform 412"/>
            <p:cNvSpPr>
              <a:spLocks/>
            </p:cNvSpPr>
            <p:nvPr/>
          </p:nvSpPr>
          <p:spPr bwMode="auto">
            <a:xfrm>
              <a:off x="2864021" y="4691625"/>
              <a:ext cx="245563" cy="272553"/>
            </a:xfrm>
            <a:custGeom>
              <a:avLst/>
              <a:gdLst>
                <a:gd name="T0" fmla="*/ 2147483646 w 10141"/>
                <a:gd name="T1" fmla="*/ 2147483646 h 10000"/>
                <a:gd name="T2" fmla="*/ 2147483646 w 10141"/>
                <a:gd name="T3" fmla="*/ 2147483646 h 10000"/>
                <a:gd name="T4" fmla="*/ 2147483646 w 10141"/>
                <a:gd name="T5" fmla="*/ 2147483646 h 10000"/>
                <a:gd name="T6" fmla="*/ 2147483646 w 10141"/>
                <a:gd name="T7" fmla="*/ 2147483646 h 10000"/>
                <a:gd name="T8" fmla="*/ 2147483646 w 10141"/>
                <a:gd name="T9" fmla="*/ 2147483646 h 10000"/>
                <a:gd name="T10" fmla="*/ 2147483646 w 10141"/>
                <a:gd name="T11" fmla="*/ 2147483646 h 10000"/>
                <a:gd name="T12" fmla="*/ 2147483646 w 10141"/>
                <a:gd name="T13" fmla="*/ 2147483646 h 10000"/>
                <a:gd name="T14" fmla="*/ 2147483646 w 10141"/>
                <a:gd name="T15" fmla="*/ 2147483646 h 10000"/>
                <a:gd name="T16" fmla="*/ 2147483646 w 10141"/>
                <a:gd name="T17" fmla="*/ 2147483646 h 10000"/>
                <a:gd name="T18" fmla="*/ 2147483646 w 10141"/>
                <a:gd name="T19" fmla="*/ 2147483646 h 10000"/>
                <a:gd name="T20" fmla="*/ 2147483646 w 10141"/>
                <a:gd name="T21" fmla="*/ 2147483646 h 10000"/>
                <a:gd name="T22" fmla="*/ 2147483646 w 10141"/>
                <a:gd name="T23" fmla="*/ 2147483646 h 10000"/>
                <a:gd name="T24" fmla="*/ 2147483646 w 10141"/>
                <a:gd name="T25" fmla="*/ 2147483646 h 10000"/>
                <a:gd name="T26" fmla="*/ 2147483646 w 10141"/>
                <a:gd name="T27" fmla="*/ 0 h 10000"/>
                <a:gd name="T28" fmla="*/ 2147483646 w 10141"/>
                <a:gd name="T29" fmla="*/ 2147483646 h 10000"/>
                <a:gd name="T30" fmla="*/ 2147483646 w 10141"/>
                <a:gd name="T31" fmla="*/ 2147483646 h 10000"/>
                <a:gd name="T32" fmla="*/ 2147483646 w 10141"/>
                <a:gd name="T33" fmla="*/ 2147483646 h 10000"/>
                <a:gd name="T34" fmla="*/ 2147483646 w 10141"/>
                <a:gd name="T35" fmla="*/ 2147483646 h 10000"/>
                <a:gd name="T36" fmla="*/ 2147483646 w 10141"/>
                <a:gd name="T37" fmla="*/ 2147483646 h 10000"/>
                <a:gd name="T38" fmla="*/ 2147483646 w 10141"/>
                <a:gd name="T39" fmla="*/ 2147483646 h 10000"/>
                <a:gd name="T40" fmla="*/ 2147483646 w 10141"/>
                <a:gd name="T41" fmla="*/ 2147483646 h 10000"/>
                <a:gd name="T42" fmla="*/ 2147483646 w 10141"/>
                <a:gd name="T43" fmla="*/ 2147483646 h 10000"/>
                <a:gd name="T44" fmla="*/ 2147483646 w 10141"/>
                <a:gd name="T45" fmla="*/ 2147483646 h 10000"/>
                <a:gd name="T46" fmla="*/ 2147483646 w 10141"/>
                <a:gd name="T47" fmla="*/ 2147483646 h 10000"/>
                <a:gd name="T48" fmla="*/ 2147483646 w 10141"/>
                <a:gd name="T49" fmla="*/ 2147483646 h 10000"/>
                <a:gd name="T50" fmla="*/ 2147483646 w 10141"/>
                <a:gd name="T51" fmla="*/ 2147483646 h 10000"/>
                <a:gd name="T52" fmla="*/ 2147483646 w 10141"/>
                <a:gd name="T53" fmla="*/ 2147483646 h 10000"/>
                <a:gd name="T54" fmla="*/ 2147483646 w 10141"/>
                <a:gd name="T55" fmla="*/ 2147483646 h 10000"/>
                <a:gd name="T56" fmla="*/ 2147483646 w 10141"/>
                <a:gd name="T57" fmla="*/ 2147483646 h 10000"/>
                <a:gd name="T58" fmla="*/ 2147483646 w 10141"/>
                <a:gd name="T59" fmla="*/ 2147483646 h 10000"/>
                <a:gd name="T60" fmla="*/ 2147483646 w 10141"/>
                <a:gd name="T61" fmla="*/ 2147483646 h 1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141" h="10000">
                  <a:moveTo>
                    <a:pt x="6087" y="9512"/>
                  </a:moveTo>
                  <a:lnTo>
                    <a:pt x="6087" y="9024"/>
                  </a:lnTo>
                  <a:lnTo>
                    <a:pt x="8249" y="7561"/>
                  </a:lnTo>
                  <a:lnTo>
                    <a:pt x="9600" y="7561"/>
                  </a:lnTo>
                  <a:lnTo>
                    <a:pt x="10141" y="7805"/>
                  </a:lnTo>
                  <a:lnTo>
                    <a:pt x="10141" y="6098"/>
                  </a:lnTo>
                  <a:lnTo>
                    <a:pt x="10141" y="5122"/>
                  </a:lnTo>
                  <a:cubicBezTo>
                    <a:pt x="10141" y="5122"/>
                    <a:pt x="8790" y="4878"/>
                    <a:pt x="8519" y="4878"/>
                  </a:cubicBezTo>
                  <a:lnTo>
                    <a:pt x="7979" y="4146"/>
                  </a:lnTo>
                  <a:lnTo>
                    <a:pt x="7979" y="3171"/>
                  </a:lnTo>
                  <a:lnTo>
                    <a:pt x="6087" y="2439"/>
                  </a:lnTo>
                  <a:lnTo>
                    <a:pt x="4465" y="1707"/>
                  </a:lnTo>
                  <a:lnTo>
                    <a:pt x="4195" y="244"/>
                  </a:lnTo>
                  <a:lnTo>
                    <a:pt x="2573" y="0"/>
                  </a:lnTo>
                  <a:lnTo>
                    <a:pt x="1492" y="732"/>
                  </a:lnTo>
                  <a:lnTo>
                    <a:pt x="411" y="976"/>
                  </a:lnTo>
                  <a:cubicBezTo>
                    <a:pt x="591" y="1220"/>
                    <a:pt x="924" y="1260"/>
                    <a:pt x="952" y="1707"/>
                  </a:cubicBezTo>
                  <a:cubicBezTo>
                    <a:pt x="980" y="2154"/>
                    <a:pt x="691" y="3085"/>
                    <a:pt x="578" y="3659"/>
                  </a:cubicBezTo>
                  <a:cubicBezTo>
                    <a:pt x="465" y="4234"/>
                    <a:pt x="368" y="4765"/>
                    <a:pt x="272" y="5154"/>
                  </a:cubicBezTo>
                  <a:cubicBezTo>
                    <a:pt x="176" y="5543"/>
                    <a:pt x="-27" y="5787"/>
                    <a:pt x="2" y="5992"/>
                  </a:cubicBezTo>
                  <a:cubicBezTo>
                    <a:pt x="31" y="6197"/>
                    <a:pt x="243" y="6244"/>
                    <a:pt x="446" y="6383"/>
                  </a:cubicBezTo>
                  <a:cubicBezTo>
                    <a:pt x="649" y="6522"/>
                    <a:pt x="1138" y="6592"/>
                    <a:pt x="1222" y="6829"/>
                  </a:cubicBezTo>
                  <a:cubicBezTo>
                    <a:pt x="1306" y="7066"/>
                    <a:pt x="1042" y="7480"/>
                    <a:pt x="952" y="7805"/>
                  </a:cubicBezTo>
                  <a:lnTo>
                    <a:pt x="2033" y="9512"/>
                  </a:lnTo>
                  <a:lnTo>
                    <a:pt x="2303" y="10000"/>
                  </a:lnTo>
                  <a:lnTo>
                    <a:pt x="2844" y="9756"/>
                  </a:lnTo>
                  <a:lnTo>
                    <a:pt x="3384" y="9756"/>
                  </a:lnTo>
                  <a:lnTo>
                    <a:pt x="4736" y="10000"/>
                  </a:lnTo>
                  <a:lnTo>
                    <a:pt x="5006" y="9756"/>
                  </a:lnTo>
                  <a:lnTo>
                    <a:pt x="6087" y="9512"/>
                  </a:lnTo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6" name="Freeform 405"/>
            <p:cNvSpPr>
              <a:spLocks/>
            </p:cNvSpPr>
            <p:nvPr/>
          </p:nvSpPr>
          <p:spPr bwMode="auto">
            <a:xfrm>
              <a:off x="2739778" y="4437140"/>
              <a:ext cx="179787" cy="132512"/>
            </a:xfrm>
            <a:custGeom>
              <a:avLst/>
              <a:gdLst>
                <a:gd name="T0" fmla="*/ 0 w 10000"/>
                <a:gd name="T1" fmla="*/ 2147483646 h 10000"/>
                <a:gd name="T2" fmla="*/ 0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2147483646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2147483646 h 10000"/>
                <a:gd name="T20" fmla="*/ 2147483646 w 10000"/>
                <a:gd name="T21" fmla="*/ 2147483646 h 10000"/>
                <a:gd name="T22" fmla="*/ 2147483646 w 10000"/>
                <a:gd name="T23" fmla="*/ 0 h 1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00" h="10000">
                  <a:moveTo>
                    <a:pt x="0" y="3889"/>
                  </a:moveTo>
                  <a:lnTo>
                    <a:pt x="0" y="3889"/>
                  </a:lnTo>
                  <a:lnTo>
                    <a:pt x="2000" y="5556"/>
                  </a:lnTo>
                  <a:lnTo>
                    <a:pt x="3200" y="7222"/>
                  </a:lnTo>
                  <a:lnTo>
                    <a:pt x="4800" y="7222"/>
                  </a:lnTo>
                  <a:lnTo>
                    <a:pt x="5600" y="8889"/>
                  </a:lnTo>
                  <a:lnTo>
                    <a:pt x="5268" y="8163"/>
                  </a:lnTo>
                  <a:lnTo>
                    <a:pt x="5600" y="8889"/>
                  </a:lnTo>
                  <a:lnTo>
                    <a:pt x="6400" y="10000"/>
                  </a:lnTo>
                  <a:lnTo>
                    <a:pt x="7200" y="3889"/>
                  </a:lnTo>
                  <a:cubicBezTo>
                    <a:pt x="7067" y="2963"/>
                    <a:pt x="6933" y="2037"/>
                    <a:pt x="6800" y="1111"/>
                  </a:cubicBezTo>
                  <a:lnTo>
                    <a:pt x="10000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7" name="Freeform 407"/>
            <p:cNvSpPr>
              <a:spLocks/>
            </p:cNvSpPr>
            <p:nvPr/>
          </p:nvSpPr>
          <p:spPr bwMode="auto">
            <a:xfrm>
              <a:off x="3036500" y="4279030"/>
              <a:ext cx="108165" cy="170157"/>
            </a:xfrm>
            <a:custGeom>
              <a:avLst/>
              <a:gdLst>
                <a:gd name="T0" fmla="*/ 2147483646 w 90"/>
                <a:gd name="T1" fmla="*/ 2147483646 h 138"/>
                <a:gd name="T2" fmla="*/ 2147483646 w 90"/>
                <a:gd name="T3" fmla="*/ 2147483646 h 138"/>
                <a:gd name="T4" fmla="*/ 2147483646 w 90"/>
                <a:gd name="T5" fmla="*/ 2147483646 h 138"/>
                <a:gd name="T6" fmla="*/ 2147483646 w 90"/>
                <a:gd name="T7" fmla="*/ 2147483646 h 138"/>
                <a:gd name="T8" fmla="*/ 2147483646 w 90"/>
                <a:gd name="T9" fmla="*/ 2147483646 h 138"/>
                <a:gd name="T10" fmla="*/ 2147483646 w 90"/>
                <a:gd name="T11" fmla="*/ 2147483646 h 138"/>
                <a:gd name="T12" fmla="*/ 2147483646 w 90"/>
                <a:gd name="T13" fmla="*/ 2147483646 h 138"/>
                <a:gd name="T14" fmla="*/ 2147483646 w 90"/>
                <a:gd name="T15" fmla="*/ 0 h 138"/>
                <a:gd name="T16" fmla="*/ 2147483646 w 90"/>
                <a:gd name="T17" fmla="*/ 2147483646 h 138"/>
                <a:gd name="T18" fmla="*/ 0 w 90"/>
                <a:gd name="T19" fmla="*/ 2147483646 h 138"/>
                <a:gd name="T20" fmla="*/ 2147483646 w 90"/>
                <a:gd name="T21" fmla="*/ 2147483646 h 138"/>
                <a:gd name="T22" fmla="*/ 2147483646 w 90"/>
                <a:gd name="T23" fmla="*/ 2147483646 h 138"/>
                <a:gd name="T24" fmla="*/ 2147483646 w 90"/>
                <a:gd name="T25" fmla="*/ 2147483646 h 138"/>
                <a:gd name="T26" fmla="*/ 2147483646 w 90"/>
                <a:gd name="T27" fmla="*/ 2147483646 h 138"/>
                <a:gd name="T28" fmla="*/ 2147483646 w 90"/>
                <a:gd name="T29" fmla="*/ 2147483646 h 138"/>
                <a:gd name="T30" fmla="*/ 2147483646 w 90"/>
                <a:gd name="T31" fmla="*/ 2147483646 h 138"/>
                <a:gd name="T32" fmla="*/ 2147483646 w 90"/>
                <a:gd name="T33" fmla="*/ 2147483646 h 138"/>
                <a:gd name="T34" fmla="*/ 2147483646 w 90"/>
                <a:gd name="T35" fmla="*/ 2147483646 h 13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138">
                  <a:moveTo>
                    <a:pt x="90" y="126"/>
                  </a:moveTo>
                  <a:lnTo>
                    <a:pt x="78" y="102"/>
                  </a:lnTo>
                  <a:lnTo>
                    <a:pt x="66" y="78"/>
                  </a:lnTo>
                  <a:lnTo>
                    <a:pt x="84" y="60"/>
                  </a:lnTo>
                  <a:lnTo>
                    <a:pt x="9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36" y="0"/>
                  </a:lnTo>
                  <a:lnTo>
                    <a:pt x="12" y="24"/>
                  </a:lnTo>
                  <a:lnTo>
                    <a:pt x="0" y="42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84"/>
                  </a:lnTo>
                  <a:lnTo>
                    <a:pt x="24" y="120"/>
                  </a:lnTo>
                  <a:lnTo>
                    <a:pt x="42" y="138"/>
                  </a:lnTo>
                  <a:lnTo>
                    <a:pt x="60" y="132"/>
                  </a:lnTo>
                  <a:lnTo>
                    <a:pt x="90" y="12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8" name="Freeform 408"/>
            <p:cNvSpPr>
              <a:spLocks/>
            </p:cNvSpPr>
            <p:nvPr/>
          </p:nvSpPr>
          <p:spPr bwMode="auto">
            <a:xfrm>
              <a:off x="3204594" y="4339262"/>
              <a:ext cx="70161" cy="88843"/>
            </a:xfrm>
            <a:custGeom>
              <a:avLst/>
              <a:gdLst>
                <a:gd name="T0" fmla="*/ 2147483646 w 60"/>
                <a:gd name="T1" fmla="*/ 2147483646 h 72"/>
                <a:gd name="T2" fmla="*/ 2147483646 w 60"/>
                <a:gd name="T3" fmla="*/ 2147483646 h 72"/>
                <a:gd name="T4" fmla="*/ 2147483646 w 60"/>
                <a:gd name="T5" fmla="*/ 2147483646 h 72"/>
                <a:gd name="T6" fmla="*/ 2147483646 w 60"/>
                <a:gd name="T7" fmla="*/ 2147483646 h 72"/>
                <a:gd name="T8" fmla="*/ 2147483646 w 60"/>
                <a:gd name="T9" fmla="*/ 2147483646 h 72"/>
                <a:gd name="T10" fmla="*/ 2147483646 w 60"/>
                <a:gd name="T11" fmla="*/ 0 h 72"/>
                <a:gd name="T12" fmla="*/ 2147483646 w 60"/>
                <a:gd name="T13" fmla="*/ 0 h 72"/>
                <a:gd name="T14" fmla="*/ 0 w 60"/>
                <a:gd name="T15" fmla="*/ 2147483646 h 72"/>
                <a:gd name="T16" fmla="*/ 2147483646 w 60"/>
                <a:gd name="T17" fmla="*/ 2147483646 h 7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0" h="72">
                  <a:moveTo>
                    <a:pt x="6" y="42"/>
                  </a:moveTo>
                  <a:lnTo>
                    <a:pt x="6" y="66"/>
                  </a:lnTo>
                  <a:lnTo>
                    <a:pt x="12" y="72"/>
                  </a:lnTo>
                  <a:lnTo>
                    <a:pt x="36" y="60"/>
                  </a:lnTo>
                  <a:lnTo>
                    <a:pt x="60" y="24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18"/>
                  </a:lnTo>
                  <a:lnTo>
                    <a:pt x="6" y="4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9" name="Freeform 417"/>
            <p:cNvSpPr>
              <a:spLocks/>
            </p:cNvSpPr>
            <p:nvPr/>
          </p:nvSpPr>
          <p:spPr bwMode="auto">
            <a:xfrm>
              <a:off x="3118354" y="4336251"/>
              <a:ext cx="89163" cy="103901"/>
            </a:xfrm>
            <a:custGeom>
              <a:avLst/>
              <a:gdLst>
                <a:gd name="T0" fmla="*/ 2147483646 w 72"/>
                <a:gd name="T1" fmla="*/ 2147483646 h 84"/>
                <a:gd name="T2" fmla="*/ 2147483646 w 72"/>
                <a:gd name="T3" fmla="*/ 2147483646 h 84"/>
                <a:gd name="T4" fmla="*/ 2147483646 w 72"/>
                <a:gd name="T5" fmla="*/ 2147483646 h 84"/>
                <a:gd name="T6" fmla="*/ 2147483646 w 72"/>
                <a:gd name="T7" fmla="*/ 2147483646 h 84"/>
                <a:gd name="T8" fmla="*/ 2147483646 w 72"/>
                <a:gd name="T9" fmla="*/ 2147483646 h 84"/>
                <a:gd name="T10" fmla="*/ 2147483646 w 72"/>
                <a:gd name="T11" fmla="*/ 0 h 84"/>
                <a:gd name="T12" fmla="*/ 2147483646 w 72"/>
                <a:gd name="T13" fmla="*/ 2147483646 h 84"/>
                <a:gd name="T14" fmla="*/ 0 w 72"/>
                <a:gd name="T15" fmla="*/ 2147483646 h 84"/>
                <a:gd name="T16" fmla="*/ 2147483646 w 72"/>
                <a:gd name="T17" fmla="*/ 2147483646 h 84"/>
                <a:gd name="T18" fmla="*/ 2147483646 w 72"/>
                <a:gd name="T19" fmla="*/ 2147483646 h 84"/>
                <a:gd name="T20" fmla="*/ 2147483646 w 72"/>
                <a:gd name="T21" fmla="*/ 2147483646 h 84"/>
                <a:gd name="T22" fmla="*/ 2147483646 w 72"/>
                <a:gd name="T23" fmla="*/ 2147483646 h 84"/>
                <a:gd name="T24" fmla="*/ 2147483646 w 72"/>
                <a:gd name="T25" fmla="*/ 2147483646 h 84"/>
                <a:gd name="T26" fmla="*/ 2147483646 w 72"/>
                <a:gd name="T27" fmla="*/ 2147483646 h 8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2" h="84">
                  <a:moveTo>
                    <a:pt x="72" y="78"/>
                  </a:moveTo>
                  <a:lnTo>
                    <a:pt x="72" y="54"/>
                  </a:lnTo>
                  <a:lnTo>
                    <a:pt x="66" y="30"/>
                  </a:lnTo>
                  <a:lnTo>
                    <a:pt x="72" y="12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18"/>
                  </a:lnTo>
                  <a:lnTo>
                    <a:pt x="0" y="36"/>
                  </a:lnTo>
                  <a:lnTo>
                    <a:pt x="12" y="6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42" y="78"/>
                  </a:lnTo>
                  <a:lnTo>
                    <a:pt x="72" y="7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0" name="Freeform 418"/>
            <p:cNvSpPr>
              <a:spLocks/>
            </p:cNvSpPr>
            <p:nvPr/>
          </p:nvSpPr>
          <p:spPr bwMode="auto">
            <a:xfrm>
              <a:off x="2783628" y="4199220"/>
              <a:ext cx="306954" cy="266531"/>
            </a:xfrm>
            <a:custGeom>
              <a:avLst/>
              <a:gdLst>
                <a:gd name="T0" fmla="*/ 2147483646 w 43"/>
                <a:gd name="T1" fmla="*/ 2147483646 h 36"/>
                <a:gd name="T2" fmla="*/ 2147483646 w 43"/>
                <a:gd name="T3" fmla="*/ 2147483646 h 36"/>
                <a:gd name="T4" fmla="*/ 2147483646 w 43"/>
                <a:gd name="T5" fmla="*/ 2147483646 h 36"/>
                <a:gd name="T6" fmla="*/ 2147483646 w 43"/>
                <a:gd name="T7" fmla="*/ 2147483646 h 36"/>
                <a:gd name="T8" fmla="*/ 2147483646 w 43"/>
                <a:gd name="T9" fmla="*/ 2147483646 h 36"/>
                <a:gd name="T10" fmla="*/ 2147483646 w 43"/>
                <a:gd name="T11" fmla="*/ 2147483646 h 36"/>
                <a:gd name="T12" fmla="*/ 2147483646 w 43"/>
                <a:gd name="T13" fmla="*/ 2147483646 h 36"/>
                <a:gd name="T14" fmla="*/ 2147483646 w 43"/>
                <a:gd name="T15" fmla="*/ 2147483646 h 36"/>
                <a:gd name="T16" fmla="*/ 2147483646 w 43"/>
                <a:gd name="T17" fmla="*/ 2147483646 h 36"/>
                <a:gd name="T18" fmla="*/ 2147483646 w 43"/>
                <a:gd name="T19" fmla="*/ 2147483646 h 36"/>
                <a:gd name="T20" fmla="*/ 2147483646 w 43"/>
                <a:gd name="T21" fmla="*/ 2147483646 h 36"/>
                <a:gd name="T22" fmla="*/ 2147483646 w 43"/>
                <a:gd name="T23" fmla="*/ 2147483646 h 36"/>
                <a:gd name="T24" fmla="*/ 2147483646 w 43"/>
                <a:gd name="T25" fmla="*/ 2147483646 h 36"/>
                <a:gd name="T26" fmla="*/ 2147483646 w 43"/>
                <a:gd name="T27" fmla="*/ 0 h 36"/>
                <a:gd name="T28" fmla="*/ 2147483646 w 43"/>
                <a:gd name="T29" fmla="*/ 2147483646 h 36"/>
                <a:gd name="T30" fmla="*/ 0 w 43"/>
                <a:gd name="T31" fmla="*/ 2147483646 h 36"/>
                <a:gd name="T32" fmla="*/ 2147483646 w 43"/>
                <a:gd name="T33" fmla="*/ 2147483646 h 36"/>
                <a:gd name="T34" fmla="*/ 2147483646 w 43"/>
                <a:gd name="T35" fmla="*/ 2147483646 h 36"/>
                <a:gd name="T36" fmla="*/ 2147483646 w 43"/>
                <a:gd name="T37" fmla="*/ 2147483646 h 36"/>
                <a:gd name="T38" fmla="*/ 2147483646 w 43"/>
                <a:gd name="T39" fmla="*/ 2147483646 h 36"/>
                <a:gd name="T40" fmla="*/ 2147483646 w 43"/>
                <a:gd name="T41" fmla="*/ 2147483646 h 36"/>
                <a:gd name="T42" fmla="*/ 2147483646 w 43"/>
                <a:gd name="T43" fmla="*/ 2147483646 h 36"/>
                <a:gd name="T44" fmla="*/ 2147483646 w 43"/>
                <a:gd name="T45" fmla="*/ 2147483646 h 36"/>
                <a:gd name="T46" fmla="*/ 2147483646 w 43"/>
                <a:gd name="T47" fmla="*/ 2147483646 h 36"/>
                <a:gd name="T48" fmla="*/ 2147483646 w 43"/>
                <a:gd name="T49" fmla="*/ 2147483646 h 36"/>
                <a:gd name="T50" fmla="*/ 2147483646 w 43"/>
                <a:gd name="T51" fmla="*/ 2147483646 h 36"/>
                <a:gd name="T52" fmla="*/ 2147483646 w 43"/>
                <a:gd name="T53" fmla="*/ 2147483646 h 36"/>
                <a:gd name="T54" fmla="*/ 2147483646 w 43"/>
                <a:gd name="T55" fmla="*/ 2147483646 h 36"/>
                <a:gd name="T56" fmla="*/ 2147483646 w 43"/>
                <a:gd name="T57" fmla="*/ 2147483646 h 36"/>
                <a:gd name="T58" fmla="*/ 2147483646 w 43"/>
                <a:gd name="T59" fmla="*/ 2147483646 h 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3" h="36">
                  <a:moveTo>
                    <a:pt x="38" y="21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7" y="3"/>
                    <a:pt x="6" y="3"/>
                  </a:cubicBezTo>
                  <a:cubicBezTo>
                    <a:pt x="5" y="3"/>
                    <a:pt x="5" y="1"/>
                    <a:pt x="5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1"/>
                    <a:pt x="38" y="21"/>
                    <a:pt x="38" y="21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1" name="Freeform 421"/>
            <p:cNvSpPr>
              <a:spLocks/>
            </p:cNvSpPr>
            <p:nvPr/>
          </p:nvSpPr>
          <p:spPr bwMode="auto">
            <a:xfrm>
              <a:off x="2609687" y="4435635"/>
              <a:ext cx="124244" cy="141547"/>
            </a:xfrm>
            <a:custGeom>
              <a:avLst/>
              <a:gdLst>
                <a:gd name="T0" fmla="*/ 2147483646 w 102"/>
                <a:gd name="T1" fmla="*/ 2147483646 h 114"/>
                <a:gd name="T2" fmla="*/ 2147483646 w 102"/>
                <a:gd name="T3" fmla="*/ 2147483646 h 114"/>
                <a:gd name="T4" fmla="*/ 2147483646 w 102"/>
                <a:gd name="T5" fmla="*/ 2147483646 h 114"/>
                <a:gd name="T6" fmla="*/ 2147483646 w 102"/>
                <a:gd name="T7" fmla="*/ 2147483646 h 114"/>
                <a:gd name="T8" fmla="*/ 2147483646 w 102"/>
                <a:gd name="T9" fmla="*/ 2147483646 h 114"/>
                <a:gd name="T10" fmla="*/ 2147483646 w 102"/>
                <a:gd name="T11" fmla="*/ 2147483646 h 114"/>
                <a:gd name="T12" fmla="*/ 2147483646 w 102"/>
                <a:gd name="T13" fmla="*/ 0 h 114"/>
                <a:gd name="T14" fmla="*/ 2147483646 w 102"/>
                <a:gd name="T15" fmla="*/ 2147483646 h 114"/>
                <a:gd name="T16" fmla="*/ 0 w 102"/>
                <a:gd name="T17" fmla="*/ 2147483646 h 114"/>
                <a:gd name="T18" fmla="*/ 2147483646 w 102"/>
                <a:gd name="T19" fmla="*/ 2147483646 h 114"/>
                <a:gd name="T20" fmla="*/ 0 w 102"/>
                <a:gd name="T21" fmla="*/ 2147483646 h 114"/>
                <a:gd name="T22" fmla="*/ 2147483646 w 102"/>
                <a:gd name="T23" fmla="*/ 2147483646 h 114"/>
                <a:gd name="T24" fmla="*/ 2147483646 w 102"/>
                <a:gd name="T25" fmla="*/ 2147483646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2" h="114">
                  <a:moveTo>
                    <a:pt x="24" y="114"/>
                  </a:moveTo>
                  <a:lnTo>
                    <a:pt x="48" y="90"/>
                  </a:lnTo>
                  <a:lnTo>
                    <a:pt x="66" y="84"/>
                  </a:lnTo>
                  <a:lnTo>
                    <a:pt x="90" y="60"/>
                  </a:lnTo>
                  <a:lnTo>
                    <a:pt x="102" y="36"/>
                  </a:lnTo>
                  <a:lnTo>
                    <a:pt x="78" y="18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0" y="66"/>
                  </a:lnTo>
                  <a:lnTo>
                    <a:pt x="12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24" y="1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2" name="Freeform 263"/>
            <p:cNvSpPr>
              <a:spLocks/>
            </p:cNvSpPr>
            <p:nvPr/>
          </p:nvSpPr>
          <p:spPr bwMode="auto">
            <a:xfrm>
              <a:off x="4789063" y="2860545"/>
              <a:ext cx="45312" cy="91855"/>
            </a:xfrm>
            <a:custGeom>
              <a:avLst/>
              <a:gdLst>
                <a:gd name="T0" fmla="*/ 0 w 429209"/>
                <a:gd name="T1" fmla="*/ 0 h 839755"/>
                <a:gd name="T2" fmla="*/ 0 w 429209"/>
                <a:gd name="T3" fmla="*/ 0 h 839755"/>
                <a:gd name="T4" fmla="*/ 0 w 429209"/>
                <a:gd name="T5" fmla="*/ 0 h 839755"/>
                <a:gd name="T6" fmla="*/ 0 w 429209"/>
                <a:gd name="T7" fmla="*/ 0 h 839755"/>
                <a:gd name="T8" fmla="*/ 0 w 429209"/>
                <a:gd name="T9" fmla="*/ 0 h 839755"/>
                <a:gd name="T10" fmla="*/ 0 w 429209"/>
                <a:gd name="T11" fmla="*/ 0 h 839755"/>
                <a:gd name="T12" fmla="*/ 0 w 429209"/>
                <a:gd name="T13" fmla="*/ 0 h 839755"/>
                <a:gd name="T14" fmla="*/ 0 w 429209"/>
                <a:gd name="T15" fmla="*/ 0 h 839755"/>
                <a:gd name="T16" fmla="*/ 0 w 429209"/>
                <a:gd name="T17" fmla="*/ 0 h 839755"/>
                <a:gd name="T18" fmla="*/ 0 w 429209"/>
                <a:gd name="T19" fmla="*/ 0 h 839755"/>
                <a:gd name="T20" fmla="*/ 0 w 429209"/>
                <a:gd name="T21" fmla="*/ 0 h 839755"/>
                <a:gd name="T22" fmla="*/ 0 w 429209"/>
                <a:gd name="T23" fmla="*/ 0 h 8397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29209" h="839755">
                  <a:moveTo>
                    <a:pt x="53214" y="797282"/>
                  </a:moveTo>
                  <a:cubicBezTo>
                    <a:pt x="54137" y="718133"/>
                    <a:pt x="55061" y="638985"/>
                    <a:pt x="55984" y="559836"/>
                  </a:cubicBezTo>
                  <a:lnTo>
                    <a:pt x="0" y="522514"/>
                  </a:lnTo>
                  <a:lnTo>
                    <a:pt x="111968" y="130628"/>
                  </a:lnTo>
                  <a:lnTo>
                    <a:pt x="261258" y="130628"/>
                  </a:lnTo>
                  <a:lnTo>
                    <a:pt x="391886" y="0"/>
                  </a:lnTo>
                  <a:lnTo>
                    <a:pt x="410547" y="261257"/>
                  </a:lnTo>
                  <a:lnTo>
                    <a:pt x="429209" y="410547"/>
                  </a:lnTo>
                  <a:lnTo>
                    <a:pt x="223935" y="634481"/>
                  </a:lnTo>
                  <a:lnTo>
                    <a:pt x="223935" y="839755"/>
                  </a:lnTo>
                  <a:lnTo>
                    <a:pt x="111968" y="783771"/>
                  </a:lnTo>
                  <a:lnTo>
                    <a:pt x="53214" y="79728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3" name="Freeform 295"/>
            <p:cNvSpPr>
              <a:spLocks/>
            </p:cNvSpPr>
            <p:nvPr/>
          </p:nvSpPr>
          <p:spPr bwMode="auto">
            <a:xfrm>
              <a:off x="5959874" y="3499014"/>
              <a:ext cx="397579" cy="396031"/>
            </a:xfrm>
            <a:custGeom>
              <a:avLst/>
              <a:gdLst>
                <a:gd name="T0" fmla="*/ 2147483646 w 10795"/>
                <a:gd name="T1" fmla="*/ 2147483646 h 10652"/>
                <a:gd name="T2" fmla="*/ 2147483646 w 10795"/>
                <a:gd name="T3" fmla="*/ 2147483646 h 10652"/>
                <a:gd name="T4" fmla="*/ 2147483646 w 10795"/>
                <a:gd name="T5" fmla="*/ 2147483646 h 10652"/>
                <a:gd name="T6" fmla="*/ 2147483646 w 10795"/>
                <a:gd name="T7" fmla="*/ 2147483646 h 10652"/>
                <a:gd name="T8" fmla="*/ 2147483646 w 10795"/>
                <a:gd name="T9" fmla="*/ 2147483646 h 10652"/>
                <a:gd name="T10" fmla="*/ 2147483646 w 10795"/>
                <a:gd name="T11" fmla="*/ 2147483646 h 10652"/>
                <a:gd name="T12" fmla="*/ 2147483646 w 10795"/>
                <a:gd name="T13" fmla="*/ 2147483646 h 10652"/>
                <a:gd name="T14" fmla="*/ 2147483646 w 10795"/>
                <a:gd name="T15" fmla="*/ 2147483646 h 10652"/>
                <a:gd name="T16" fmla="*/ 2147483646 w 10795"/>
                <a:gd name="T17" fmla="*/ 2147483646 h 10652"/>
                <a:gd name="T18" fmla="*/ 2147483646 w 10795"/>
                <a:gd name="T19" fmla="*/ 2147483646 h 10652"/>
                <a:gd name="T20" fmla="*/ 2147483646 w 10795"/>
                <a:gd name="T21" fmla="*/ 2147483646 h 10652"/>
                <a:gd name="T22" fmla="*/ 2147483646 w 10795"/>
                <a:gd name="T23" fmla="*/ 2147483646 h 10652"/>
                <a:gd name="T24" fmla="*/ 2147483646 w 10795"/>
                <a:gd name="T25" fmla="*/ 2147483646 h 10652"/>
                <a:gd name="T26" fmla="*/ 2147483646 w 10795"/>
                <a:gd name="T27" fmla="*/ 2147483646 h 10652"/>
                <a:gd name="T28" fmla="*/ 2147483646 w 10795"/>
                <a:gd name="T29" fmla="*/ 2147483646 h 10652"/>
                <a:gd name="T30" fmla="*/ 2147483646 w 10795"/>
                <a:gd name="T31" fmla="*/ 2147483646 h 10652"/>
                <a:gd name="T32" fmla="*/ 2147483646 w 10795"/>
                <a:gd name="T33" fmla="*/ 2147483646 h 10652"/>
                <a:gd name="T34" fmla="*/ 2147483646 w 10795"/>
                <a:gd name="T35" fmla="*/ 2147483646 h 10652"/>
                <a:gd name="T36" fmla="*/ 2147483646 w 10795"/>
                <a:gd name="T37" fmla="*/ 2147483646 h 10652"/>
                <a:gd name="T38" fmla="*/ 2147483646 w 10795"/>
                <a:gd name="T39" fmla="*/ 2147483646 h 10652"/>
                <a:gd name="T40" fmla="*/ 2147483646 w 10795"/>
                <a:gd name="T41" fmla="*/ 2147483646 h 10652"/>
                <a:gd name="T42" fmla="*/ 2147483646 w 10795"/>
                <a:gd name="T43" fmla="*/ 2147483646 h 10652"/>
                <a:gd name="T44" fmla="*/ 2147483646 w 10795"/>
                <a:gd name="T45" fmla="*/ 2147483646 h 10652"/>
                <a:gd name="T46" fmla="*/ 2147483646 w 10795"/>
                <a:gd name="T47" fmla="*/ 2147483646 h 10652"/>
                <a:gd name="T48" fmla="*/ 2147483646 w 10795"/>
                <a:gd name="T49" fmla="*/ 2147483646 h 10652"/>
                <a:gd name="T50" fmla="*/ 2147483646 w 10795"/>
                <a:gd name="T51" fmla="*/ 2147483646 h 10652"/>
                <a:gd name="T52" fmla="*/ 2147483646 w 10795"/>
                <a:gd name="T53" fmla="*/ 2147483646 h 10652"/>
                <a:gd name="T54" fmla="*/ 2147483646 w 10795"/>
                <a:gd name="T55" fmla="*/ 2147483646 h 10652"/>
                <a:gd name="T56" fmla="*/ 2147483646 w 10795"/>
                <a:gd name="T57" fmla="*/ 2147483646 h 10652"/>
                <a:gd name="T58" fmla="*/ 2147483646 w 10795"/>
                <a:gd name="T59" fmla="*/ 2147483646 h 10652"/>
                <a:gd name="T60" fmla="*/ 2147483646 w 10795"/>
                <a:gd name="T61" fmla="*/ 2147483646 h 10652"/>
                <a:gd name="T62" fmla="*/ 2147483646 w 10795"/>
                <a:gd name="T63" fmla="*/ 2147483646 h 10652"/>
                <a:gd name="T64" fmla="*/ 2147483646 w 10795"/>
                <a:gd name="T65" fmla="*/ 2147483646 h 10652"/>
                <a:gd name="T66" fmla="*/ 2147483646 w 10795"/>
                <a:gd name="T67" fmla="*/ 2147483646 h 10652"/>
                <a:gd name="T68" fmla="*/ 2147483646 w 10795"/>
                <a:gd name="T69" fmla="*/ 2147483646 h 10652"/>
                <a:gd name="T70" fmla="*/ 2147483646 w 10795"/>
                <a:gd name="T71" fmla="*/ 2147483646 h 10652"/>
                <a:gd name="T72" fmla="*/ 2147483646 w 10795"/>
                <a:gd name="T73" fmla="*/ 2147483646 h 10652"/>
                <a:gd name="T74" fmla="*/ 2147483646 w 10795"/>
                <a:gd name="T75" fmla="*/ 2147483646 h 106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0795" h="10652">
                  <a:moveTo>
                    <a:pt x="7118" y="10169"/>
                  </a:moveTo>
                  <a:cubicBezTo>
                    <a:pt x="7403" y="10018"/>
                    <a:pt x="7922" y="10028"/>
                    <a:pt x="7912" y="9685"/>
                  </a:cubicBezTo>
                  <a:cubicBezTo>
                    <a:pt x="7902" y="9342"/>
                    <a:pt x="7173" y="8474"/>
                    <a:pt x="7058" y="8110"/>
                  </a:cubicBezTo>
                  <a:cubicBezTo>
                    <a:pt x="6943" y="7746"/>
                    <a:pt x="7143" y="7666"/>
                    <a:pt x="7222" y="7500"/>
                  </a:cubicBezTo>
                  <a:cubicBezTo>
                    <a:pt x="7301" y="7334"/>
                    <a:pt x="7346" y="7193"/>
                    <a:pt x="7530" y="7116"/>
                  </a:cubicBezTo>
                  <a:cubicBezTo>
                    <a:pt x="7714" y="7039"/>
                    <a:pt x="8027" y="7379"/>
                    <a:pt x="8325" y="7039"/>
                  </a:cubicBezTo>
                  <a:cubicBezTo>
                    <a:pt x="8623" y="6699"/>
                    <a:pt x="9062" y="5615"/>
                    <a:pt x="9319" y="5078"/>
                  </a:cubicBezTo>
                  <a:cubicBezTo>
                    <a:pt x="9576" y="4541"/>
                    <a:pt x="9720" y="4241"/>
                    <a:pt x="9868" y="3816"/>
                  </a:cubicBezTo>
                  <a:cubicBezTo>
                    <a:pt x="10016" y="3391"/>
                    <a:pt x="10257" y="2817"/>
                    <a:pt x="10206" y="2527"/>
                  </a:cubicBezTo>
                  <a:cubicBezTo>
                    <a:pt x="10155" y="2237"/>
                    <a:pt x="9538" y="2325"/>
                    <a:pt x="9564" y="2075"/>
                  </a:cubicBezTo>
                  <a:cubicBezTo>
                    <a:pt x="9591" y="1811"/>
                    <a:pt x="9500" y="1164"/>
                    <a:pt x="9640" y="1129"/>
                  </a:cubicBezTo>
                  <a:cubicBezTo>
                    <a:pt x="10141" y="1004"/>
                    <a:pt x="10598" y="957"/>
                    <a:pt x="10748" y="847"/>
                  </a:cubicBezTo>
                  <a:cubicBezTo>
                    <a:pt x="10898" y="737"/>
                    <a:pt x="10653" y="578"/>
                    <a:pt x="10543" y="467"/>
                  </a:cubicBezTo>
                  <a:cubicBezTo>
                    <a:pt x="10433" y="356"/>
                    <a:pt x="10260" y="257"/>
                    <a:pt x="10085" y="179"/>
                  </a:cubicBezTo>
                  <a:cubicBezTo>
                    <a:pt x="9911" y="102"/>
                    <a:pt x="9805" y="-9"/>
                    <a:pt x="9497" y="1"/>
                  </a:cubicBezTo>
                  <a:cubicBezTo>
                    <a:pt x="9192" y="11"/>
                    <a:pt x="8556" y="193"/>
                    <a:pt x="8247" y="237"/>
                  </a:cubicBezTo>
                  <a:cubicBezTo>
                    <a:pt x="7938" y="279"/>
                    <a:pt x="7858" y="208"/>
                    <a:pt x="7639" y="263"/>
                  </a:cubicBezTo>
                  <a:cubicBezTo>
                    <a:pt x="7421" y="320"/>
                    <a:pt x="7152" y="573"/>
                    <a:pt x="6937" y="573"/>
                  </a:cubicBezTo>
                  <a:cubicBezTo>
                    <a:pt x="6886" y="922"/>
                    <a:pt x="6810" y="1372"/>
                    <a:pt x="6784" y="1623"/>
                  </a:cubicBezTo>
                  <a:cubicBezTo>
                    <a:pt x="6758" y="1873"/>
                    <a:pt x="6784" y="1924"/>
                    <a:pt x="6784" y="2075"/>
                  </a:cubicBezTo>
                  <a:cubicBezTo>
                    <a:pt x="6712" y="2150"/>
                    <a:pt x="6645" y="2133"/>
                    <a:pt x="6569" y="2301"/>
                  </a:cubicBezTo>
                  <a:cubicBezTo>
                    <a:pt x="6493" y="2469"/>
                    <a:pt x="6407" y="2823"/>
                    <a:pt x="6326" y="3084"/>
                  </a:cubicBezTo>
                  <a:cubicBezTo>
                    <a:pt x="6326" y="3084"/>
                    <a:pt x="5388" y="3490"/>
                    <a:pt x="5072" y="3661"/>
                  </a:cubicBezTo>
                  <a:cubicBezTo>
                    <a:pt x="4756" y="3832"/>
                    <a:pt x="4644" y="3888"/>
                    <a:pt x="4431" y="4113"/>
                  </a:cubicBezTo>
                  <a:cubicBezTo>
                    <a:pt x="4217" y="4338"/>
                    <a:pt x="3788" y="5012"/>
                    <a:pt x="3788" y="5012"/>
                  </a:cubicBezTo>
                  <a:cubicBezTo>
                    <a:pt x="3788" y="5012"/>
                    <a:pt x="2925" y="5037"/>
                    <a:pt x="2506" y="5245"/>
                  </a:cubicBezTo>
                  <a:cubicBezTo>
                    <a:pt x="2087" y="5453"/>
                    <a:pt x="1684" y="6101"/>
                    <a:pt x="1270" y="6260"/>
                  </a:cubicBezTo>
                  <a:cubicBezTo>
                    <a:pt x="856" y="6419"/>
                    <a:pt x="140" y="6073"/>
                    <a:pt x="20" y="6198"/>
                  </a:cubicBezTo>
                  <a:cubicBezTo>
                    <a:pt x="-100" y="6323"/>
                    <a:pt x="358" y="6820"/>
                    <a:pt x="552" y="7008"/>
                  </a:cubicBezTo>
                  <a:cubicBezTo>
                    <a:pt x="746" y="7196"/>
                    <a:pt x="1074" y="7217"/>
                    <a:pt x="1182" y="7324"/>
                  </a:cubicBezTo>
                  <a:cubicBezTo>
                    <a:pt x="1290" y="7431"/>
                    <a:pt x="1192" y="7543"/>
                    <a:pt x="1199" y="7649"/>
                  </a:cubicBezTo>
                  <a:cubicBezTo>
                    <a:pt x="1206" y="7755"/>
                    <a:pt x="1239" y="7800"/>
                    <a:pt x="1223" y="7962"/>
                  </a:cubicBezTo>
                  <a:cubicBezTo>
                    <a:pt x="1207" y="8124"/>
                    <a:pt x="1334" y="8396"/>
                    <a:pt x="1102" y="8620"/>
                  </a:cubicBezTo>
                  <a:cubicBezTo>
                    <a:pt x="795" y="8917"/>
                    <a:pt x="443" y="9228"/>
                    <a:pt x="470" y="9744"/>
                  </a:cubicBezTo>
                  <a:cubicBezTo>
                    <a:pt x="479" y="9915"/>
                    <a:pt x="2376" y="9516"/>
                    <a:pt x="3293" y="9667"/>
                  </a:cubicBezTo>
                  <a:cubicBezTo>
                    <a:pt x="4210" y="9818"/>
                    <a:pt x="5529" y="9982"/>
                    <a:pt x="5971" y="10652"/>
                  </a:cubicBezTo>
                  <a:lnTo>
                    <a:pt x="6232" y="10504"/>
                  </a:lnTo>
                  <a:lnTo>
                    <a:pt x="7118" y="1016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4" name="Freeform 296"/>
            <p:cNvSpPr>
              <a:spLocks/>
            </p:cNvSpPr>
            <p:nvPr/>
          </p:nvSpPr>
          <p:spPr bwMode="auto">
            <a:xfrm>
              <a:off x="6179127" y="3503531"/>
              <a:ext cx="672376" cy="844767"/>
            </a:xfrm>
            <a:custGeom>
              <a:avLst/>
              <a:gdLst>
                <a:gd name="T0" fmla="*/ 2147483646 w 10736"/>
                <a:gd name="T1" fmla="*/ 2147483646 h 10000"/>
                <a:gd name="T2" fmla="*/ 2147483646 w 10736"/>
                <a:gd name="T3" fmla="*/ 2147483646 h 10000"/>
                <a:gd name="T4" fmla="*/ 2147483646 w 10736"/>
                <a:gd name="T5" fmla="*/ 2147483646 h 10000"/>
                <a:gd name="T6" fmla="*/ 2147483646 w 10736"/>
                <a:gd name="T7" fmla="*/ 2147483646 h 10000"/>
                <a:gd name="T8" fmla="*/ 2147483646 w 10736"/>
                <a:gd name="T9" fmla="*/ 1970764017 h 10000"/>
                <a:gd name="T10" fmla="*/ 2147483646 w 10736"/>
                <a:gd name="T11" fmla="*/ 1794169857 h 10000"/>
                <a:gd name="T12" fmla="*/ 2147483646 w 10736"/>
                <a:gd name="T13" fmla="*/ 2147483646 h 10000"/>
                <a:gd name="T14" fmla="*/ 2147483646 w 10736"/>
                <a:gd name="T15" fmla="*/ 2147483646 h 10000"/>
                <a:gd name="T16" fmla="*/ 2147483646 w 10736"/>
                <a:gd name="T17" fmla="*/ 2147483646 h 10000"/>
                <a:gd name="T18" fmla="*/ 2147483646 w 10736"/>
                <a:gd name="T19" fmla="*/ 2147483646 h 10000"/>
                <a:gd name="T20" fmla="*/ 2147483646 w 10736"/>
                <a:gd name="T21" fmla="*/ 2147483646 h 10000"/>
                <a:gd name="T22" fmla="*/ 2071939767 w 10736"/>
                <a:gd name="T23" fmla="*/ 2147483646 h 10000"/>
                <a:gd name="T24" fmla="*/ 1685811781 w 10736"/>
                <a:gd name="T25" fmla="*/ 2147483646 h 10000"/>
                <a:gd name="T26" fmla="*/ 1439720456 w 10736"/>
                <a:gd name="T27" fmla="*/ 1484786978 h 10000"/>
                <a:gd name="T28" fmla="*/ 1193943786 w 10736"/>
                <a:gd name="T29" fmla="*/ 1039062200 h 10000"/>
                <a:gd name="T30" fmla="*/ 1250591352 w 10736"/>
                <a:gd name="T31" fmla="*/ 631495734 h 10000"/>
                <a:gd name="T32" fmla="*/ 1334299659 w 10736"/>
                <a:gd name="T33" fmla="*/ 0 h 10000"/>
                <a:gd name="T34" fmla="*/ 983416778 w 10736"/>
                <a:gd name="T35" fmla="*/ 0 h 10000"/>
                <a:gd name="T36" fmla="*/ 1053592470 w 10736"/>
                <a:gd name="T37" fmla="*/ 148334378 h 10000"/>
                <a:gd name="T38" fmla="*/ 667149829 w 10736"/>
                <a:gd name="T39" fmla="*/ 668226344 h 10000"/>
                <a:gd name="T40" fmla="*/ 702394935 w 10736"/>
                <a:gd name="T41" fmla="*/ 1187404505 h 10000"/>
                <a:gd name="T42" fmla="*/ 421373159 w 10736"/>
                <a:gd name="T43" fmla="*/ 2147483646 h 10000"/>
                <a:gd name="T44" fmla="*/ 175281834 w 10736"/>
                <a:gd name="T45" fmla="*/ 2147483646 h 10000"/>
                <a:gd name="T46" fmla="*/ 351197467 w 10736"/>
                <a:gd name="T47" fmla="*/ 2147483646 h 10000"/>
                <a:gd name="T48" fmla="*/ 70175624 w 10736"/>
                <a:gd name="T49" fmla="*/ 2147483646 h 10000"/>
                <a:gd name="T50" fmla="*/ 140351316 w 10736"/>
                <a:gd name="T51" fmla="*/ 2147483646 h 10000"/>
                <a:gd name="T52" fmla="*/ 456303678 w 10736"/>
                <a:gd name="T53" fmla="*/ 2147483646 h 10000"/>
                <a:gd name="T54" fmla="*/ 632219311 w 10736"/>
                <a:gd name="T55" fmla="*/ 2147483646 h 10000"/>
                <a:gd name="T56" fmla="*/ 912926568 w 10736"/>
                <a:gd name="T57" fmla="*/ 2147483646 h 10000"/>
                <a:gd name="T58" fmla="*/ 1123768094 w 10736"/>
                <a:gd name="T59" fmla="*/ 2147483646 h 10000"/>
                <a:gd name="T60" fmla="*/ 1299054553 w 10736"/>
                <a:gd name="T61" fmla="*/ 2147483646 h 10000"/>
                <a:gd name="T62" fmla="*/ 1369544832 w 10736"/>
                <a:gd name="T63" fmla="*/ 2147483646 h 10000"/>
                <a:gd name="T64" fmla="*/ 1861408202 w 10736"/>
                <a:gd name="T65" fmla="*/ 2147483646 h 10000"/>
                <a:gd name="T66" fmla="*/ 2147483646 w 10736"/>
                <a:gd name="T67" fmla="*/ 2147483646 h 10000"/>
                <a:gd name="T68" fmla="*/ 2147483646 w 10736"/>
                <a:gd name="T69" fmla="*/ 2147483646 h 10000"/>
                <a:gd name="T70" fmla="*/ 2147483646 w 10736"/>
                <a:gd name="T71" fmla="*/ 2147483646 h 10000"/>
                <a:gd name="T72" fmla="*/ 2147483646 w 10736"/>
                <a:gd name="T73" fmla="*/ 2147483646 h 1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0736" h="10000">
                  <a:moveTo>
                    <a:pt x="8784" y="4472"/>
                  </a:moveTo>
                  <a:cubicBezTo>
                    <a:pt x="8948" y="4542"/>
                    <a:pt x="9262" y="4499"/>
                    <a:pt x="9397" y="4647"/>
                  </a:cubicBezTo>
                  <a:cubicBezTo>
                    <a:pt x="9282" y="4891"/>
                    <a:pt x="9246" y="4846"/>
                    <a:pt x="9150" y="5059"/>
                  </a:cubicBezTo>
                  <a:cubicBezTo>
                    <a:pt x="9278" y="5100"/>
                    <a:pt x="9553" y="5244"/>
                    <a:pt x="9543" y="5202"/>
                  </a:cubicBezTo>
                  <a:cubicBezTo>
                    <a:pt x="9555" y="5140"/>
                    <a:pt x="9941" y="4675"/>
                    <a:pt x="9949" y="4570"/>
                  </a:cubicBezTo>
                  <a:cubicBezTo>
                    <a:pt x="10062" y="4506"/>
                    <a:pt x="10576" y="4087"/>
                    <a:pt x="10736" y="4050"/>
                  </a:cubicBezTo>
                  <a:lnTo>
                    <a:pt x="10429" y="3991"/>
                  </a:lnTo>
                  <a:cubicBezTo>
                    <a:pt x="10556" y="3858"/>
                    <a:pt x="10557" y="3689"/>
                    <a:pt x="10593" y="3380"/>
                  </a:cubicBezTo>
                  <a:cubicBezTo>
                    <a:pt x="10678" y="3109"/>
                    <a:pt x="10563" y="3146"/>
                    <a:pt x="10508" y="3001"/>
                  </a:cubicBezTo>
                  <a:cubicBezTo>
                    <a:pt x="10453" y="2856"/>
                    <a:pt x="10430" y="2809"/>
                    <a:pt x="10055" y="2790"/>
                  </a:cubicBezTo>
                  <a:cubicBezTo>
                    <a:pt x="9757" y="2713"/>
                    <a:pt x="9789" y="2667"/>
                    <a:pt x="9600" y="2544"/>
                  </a:cubicBezTo>
                  <a:lnTo>
                    <a:pt x="9075" y="2540"/>
                  </a:lnTo>
                  <a:cubicBezTo>
                    <a:pt x="8904" y="2631"/>
                    <a:pt x="8281" y="3056"/>
                    <a:pt x="8247" y="3163"/>
                  </a:cubicBezTo>
                  <a:cubicBezTo>
                    <a:pt x="8213" y="3270"/>
                    <a:pt x="8677" y="3148"/>
                    <a:pt x="8793" y="3233"/>
                  </a:cubicBezTo>
                  <a:cubicBezTo>
                    <a:pt x="8909" y="3318"/>
                    <a:pt x="9054" y="3526"/>
                    <a:pt x="9034" y="3598"/>
                  </a:cubicBezTo>
                  <a:lnTo>
                    <a:pt x="8672" y="3668"/>
                  </a:lnTo>
                  <a:lnTo>
                    <a:pt x="8472" y="3566"/>
                  </a:lnTo>
                  <a:cubicBezTo>
                    <a:pt x="8338" y="3543"/>
                    <a:pt x="7904" y="3596"/>
                    <a:pt x="7869" y="3527"/>
                  </a:cubicBezTo>
                  <a:lnTo>
                    <a:pt x="8262" y="3149"/>
                  </a:lnTo>
                  <a:lnTo>
                    <a:pt x="7715" y="3110"/>
                  </a:lnTo>
                  <a:lnTo>
                    <a:pt x="7254" y="3152"/>
                  </a:lnTo>
                  <a:lnTo>
                    <a:pt x="7031" y="3152"/>
                  </a:lnTo>
                  <a:lnTo>
                    <a:pt x="6808" y="3468"/>
                  </a:lnTo>
                  <a:lnTo>
                    <a:pt x="6584" y="3468"/>
                  </a:lnTo>
                  <a:lnTo>
                    <a:pt x="6138" y="3363"/>
                  </a:lnTo>
                  <a:lnTo>
                    <a:pt x="5357" y="3257"/>
                  </a:lnTo>
                  <a:lnTo>
                    <a:pt x="4240" y="2732"/>
                  </a:lnTo>
                  <a:lnTo>
                    <a:pt x="4575" y="2102"/>
                  </a:lnTo>
                  <a:lnTo>
                    <a:pt x="4017" y="1891"/>
                  </a:lnTo>
                  <a:lnTo>
                    <a:pt x="3794" y="1471"/>
                  </a:lnTo>
                  <a:lnTo>
                    <a:pt x="4017" y="1156"/>
                  </a:lnTo>
                  <a:cubicBezTo>
                    <a:pt x="3980" y="1051"/>
                    <a:pt x="4011" y="999"/>
                    <a:pt x="3974" y="894"/>
                  </a:cubicBezTo>
                  <a:lnTo>
                    <a:pt x="4233" y="601"/>
                  </a:lnTo>
                  <a:cubicBezTo>
                    <a:pt x="4235" y="401"/>
                    <a:pt x="4238" y="200"/>
                    <a:pt x="4240" y="0"/>
                  </a:cubicBezTo>
                  <a:lnTo>
                    <a:pt x="3571" y="0"/>
                  </a:lnTo>
                  <a:lnTo>
                    <a:pt x="3125" y="0"/>
                  </a:lnTo>
                  <a:lnTo>
                    <a:pt x="3236" y="105"/>
                  </a:lnTo>
                  <a:lnTo>
                    <a:pt x="3348" y="210"/>
                  </a:lnTo>
                  <a:lnTo>
                    <a:pt x="2120" y="420"/>
                  </a:lnTo>
                  <a:lnTo>
                    <a:pt x="2120" y="946"/>
                  </a:lnTo>
                  <a:lnTo>
                    <a:pt x="2455" y="1156"/>
                  </a:lnTo>
                  <a:cubicBezTo>
                    <a:pt x="2381" y="1331"/>
                    <a:pt x="2306" y="1506"/>
                    <a:pt x="2232" y="1681"/>
                  </a:cubicBezTo>
                  <a:lnTo>
                    <a:pt x="2009" y="2102"/>
                  </a:lnTo>
                  <a:lnTo>
                    <a:pt x="1339" y="3047"/>
                  </a:lnTo>
                  <a:lnTo>
                    <a:pt x="893" y="3047"/>
                  </a:lnTo>
                  <a:lnTo>
                    <a:pt x="557" y="3363"/>
                  </a:lnTo>
                  <a:lnTo>
                    <a:pt x="781" y="3783"/>
                  </a:lnTo>
                  <a:lnTo>
                    <a:pt x="1116" y="4203"/>
                  </a:lnTo>
                  <a:lnTo>
                    <a:pt x="670" y="4413"/>
                  </a:lnTo>
                  <a:lnTo>
                    <a:pt x="223" y="4518"/>
                  </a:lnTo>
                  <a:lnTo>
                    <a:pt x="0" y="4623"/>
                  </a:lnTo>
                  <a:lnTo>
                    <a:pt x="446" y="5149"/>
                  </a:lnTo>
                  <a:lnTo>
                    <a:pt x="781" y="5569"/>
                  </a:lnTo>
                  <a:lnTo>
                    <a:pt x="1450" y="5149"/>
                  </a:lnTo>
                  <a:cubicBezTo>
                    <a:pt x="1524" y="5814"/>
                    <a:pt x="1599" y="6480"/>
                    <a:pt x="1673" y="7145"/>
                  </a:cubicBezTo>
                  <a:lnTo>
                    <a:pt x="2009" y="8004"/>
                  </a:lnTo>
                  <a:lnTo>
                    <a:pt x="2566" y="8949"/>
                  </a:lnTo>
                  <a:lnTo>
                    <a:pt x="2901" y="9475"/>
                  </a:lnTo>
                  <a:lnTo>
                    <a:pt x="3236" y="10000"/>
                  </a:lnTo>
                  <a:lnTo>
                    <a:pt x="3571" y="9685"/>
                  </a:lnTo>
                  <a:lnTo>
                    <a:pt x="4017" y="9159"/>
                  </a:lnTo>
                  <a:lnTo>
                    <a:pt x="4128" y="8739"/>
                  </a:lnTo>
                  <a:cubicBezTo>
                    <a:pt x="4165" y="8494"/>
                    <a:pt x="4203" y="8249"/>
                    <a:pt x="4240" y="8004"/>
                  </a:cubicBezTo>
                  <a:cubicBezTo>
                    <a:pt x="4277" y="7788"/>
                    <a:pt x="4315" y="7572"/>
                    <a:pt x="4352" y="7356"/>
                  </a:cubicBezTo>
                  <a:lnTo>
                    <a:pt x="5133" y="6725"/>
                  </a:lnTo>
                  <a:lnTo>
                    <a:pt x="5915" y="6200"/>
                  </a:lnTo>
                  <a:lnTo>
                    <a:pt x="6639" y="5875"/>
                  </a:lnTo>
                  <a:cubicBezTo>
                    <a:pt x="6658" y="5668"/>
                    <a:pt x="7156" y="5557"/>
                    <a:pt x="7176" y="5350"/>
                  </a:cubicBezTo>
                  <a:cubicBezTo>
                    <a:pt x="7217" y="5258"/>
                    <a:pt x="8021" y="5398"/>
                    <a:pt x="8062" y="5306"/>
                  </a:cubicBezTo>
                  <a:cubicBezTo>
                    <a:pt x="7988" y="5026"/>
                    <a:pt x="7935" y="4864"/>
                    <a:pt x="7861" y="4584"/>
                  </a:cubicBezTo>
                  <a:cubicBezTo>
                    <a:pt x="7833" y="4487"/>
                    <a:pt x="7982" y="4490"/>
                    <a:pt x="7954" y="4393"/>
                  </a:cubicBezTo>
                  <a:cubicBezTo>
                    <a:pt x="7982" y="4385"/>
                    <a:pt x="8059" y="4243"/>
                    <a:pt x="8087" y="4235"/>
                  </a:cubicBezTo>
                  <a:cubicBezTo>
                    <a:pt x="8120" y="4206"/>
                    <a:pt x="8344" y="4234"/>
                    <a:pt x="8411" y="4228"/>
                  </a:cubicBezTo>
                  <a:cubicBezTo>
                    <a:pt x="8478" y="4222"/>
                    <a:pt x="8620" y="4402"/>
                    <a:pt x="8784" y="4472"/>
                  </a:cubicBezTo>
                  <a:close/>
                </a:path>
              </a:pathLst>
            </a:custGeom>
            <a:solidFill>
              <a:srgbClr val="00B0F0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5" name="Freeform 297"/>
            <p:cNvSpPr>
              <a:spLocks/>
            </p:cNvSpPr>
            <p:nvPr/>
          </p:nvSpPr>
          <p:spPr bwMode="auto">
            <a:xfrm>
              <a:off x="5949643" y="3471909"/>
              <a:ext cx="314262" cy="262013"/>
            </a:xfrm>
            <a:custGeom>
              <a:avLst/>
              <a:gdLst>
                <a:gd name="T0" fmla="*/ 2147483646 w 10000"/>
                <a:gd name="T1" fmla="*/ 2147483646 h 11017"/>
                <a:gd name="T2" fmla="*/ 2147483646 w 10000"/>
                <a:gd name="T3" fmla="*/ 2147483646 h 11017"/>
                <a:gd name="T4" fmla="*/ 2147483646 w 10000"/>
                <a:gd name="T5" fmla="*/ 2147483646 h 11017"/>
                <a:gd name="T6" fmla="*/ 2147483646 w 10000"/>
                <a:gd name="T7" fmla="*/ 2147483646 h 11017"/>
                <a:gd name="T8" fmla="*/ 2147483646 w 10000"/>
                <a:gd name="T9" fmla="*/ 0 h 11017"/>
                <a:gd name="T10" fmla="*/ 2147483646 w 10000"/>
                <a:gd name="T11" fmla="*/ 2147483646 h 11017"/>
                <a:gd name="T12" fmla="*/ 2147483646 w 10000"/>
                <a:gd name="T13" fmla="*/ 2147483646 h 11017"/>
                <a:gd name="T14" fmla="*/ 2147483646 w 10000"/>
                <a:gd name="T15" fmla="*/ 2147483646 h 11017"/>
                <a:gd name="T16" fmla="*/ 2147483646 w 10000"/>
                <a:gd name="T17" fmla="*/ 2147483646 h 11017"/>
                <a:gd name="T18" fmla="*/ 2147483646 w 10000"/>
                <a:gd name="T19" fmla="*/ 2147483646 h 11017"/>
                <a:gd name="T20" fmla="*/ 2147483646 w 10000"/>
                <a:gd name="T21" fmla="*/ 2147483646 h 11017"/>
                <a:gd name="T22" fmla="*/ 2147483646 w 10000"/>
                <a:gd name="T23" fmla="*/ 2147483646 h 11017"/>
                <a:gd name="T24" fmla="*/ 2147483646 w 10000"/>
                <a:gd name="T25" fmla="*/ 2147483646 h 11017"/>
                <a:gd name="T26" fmla="*/ 2147483646 w 10000"/>
                <a:gd name="T27" fmla="*/ 2147483646 h 11017"/>
                <a:gd name="T28" fmla="*/ 2147483646 w 10000"/>
                <a:gd name="T29" fmla="*/ 2147483646 h 11017"/>
                <a:gd name="T30" fmla="*/ 2147483646 w 10000"/>
                <a:gd name="T31" fmla="*/ 2147483646 h 11017"/>
                <a:gd name="T32" fmla="*/ 2147483646 w 10000"/>
                <a:gd name="T33" fmla="*/ 2147483646 h 11017"/>
                <a:gd name="T34" fmla="*/ 0 w 10000"/>
                <a:gd name="T35" fmla="*/ 2147483646 h 11017"/>
                <a:gd name="T36" fmla="*/ 0 w 10000"/>
                <a:gd name="T37" fmla="*/ 2147483646 h 11017"/>
                <a:gd name="T38" fmla="*/ 2147483646 w 10000"/>
                <a:gd name="T39" fmla="*/ 2147483646 h 11017"/>
                <a:gd name="T40" fmla="*/ 2147483646 w 10000"/>
                <a:gd name="T41" fmla="*/ 2147483646 h 11017"/>
                <a:gd name="T42" fmla="*/ 2147483646 w 10000"/>
                <a:gd name="T43" fmla="*/ 2147483646 h 11017"/>
                <a:gd name="T44" fmla="*/ 2147483646 w 10000"/>
                <a:gd name="T45" fmla="*/ 2147483646 h 11017"/>
                <a:gd name="T46" fmla="*/ 2147483646 w 10000"/>
                <a:gd name="T47" fmla="*/ 2147483646 h 11017"/>
                <a:gd name="T48" fmla="*/ 2147483646 w 10000"/>
                <a:gd name="T49" fmla="*/ 2147483646 h 11017"/>
                <a:gd name="T50" fmla="*/ 2147483646 w 10000"/>
                <a:gd name="T51" fmla="*/ 2147483646 h 11017"/>
                <a:gd name="T52" fmla="*/ 2147483646 w 10000"/>
                <a:gd name="T53" fmla="*/ 2147483646 h 11017"/>
                <a:gd name="T54" fmla="*/ 2147483646 w 10000"/>
                <a:gd name="T55" fmla="*/ 2147483646 h 11017"/>
                <a:gd name="T56" fmla="*/ 2147483646 w 10000"/>
                <a:gd name="T57" fmla="*/ 2147483646 h 11017"/>
                <a:gd name="T58" fmla="*/ 2147483646 w 10000"/>
                <a:gd name="T59" fmla="*/ 2147483646 h 11017"/>
                <a:gd name="T60" fmla="*/ 2147483646 w 10000"/>
                <a:gd name="T61" fmla="*/ 2147483646 h 11017"/>
                <a:gd name="T62" fmla="*/ 2147483646 w 10000"/>
                <a:gd name="T63" fmla="*/ 2147483646 h 11017"/>
                <a:gd name="T64" fmla="*/ 2147483646 w 10000"/>
                <a:gd name="T65" fmla="*/ 2147483646 h 11017"/>
                <a:gd name="T66" fmla="*/ 2147483646 w 10000"/>
                <a:gd name="T67" fmla="*/ 2147483646 h 11017"/>
                <a:gd name="T68" fmla="*/ 2147483646 w 10000"/>
                <a:gd name="T69" fmla="*/ 2147483646 h 11017"/>
                <a:gd name="T70" fmla="*/ 2147483646 w 10000"/>
                <a:gd name="T71" fmla="*/ 2147483646 h 11017"/>
                <a:gd name="T72" fmla="*/ 2147483646 w 10000"/>
                <a:gd name="T73" fmla="*/ 2147483646 h 11017"/>
                <a:gd name="T74" fmla="*/ 2147483646 w 10000"/>
                <a:gd name="T75" fmla="*/ 2147483646 h 11017"/>
                <a:gd name="T76" fmla="*/ 2147483646 w 10000"/>
                <a:gd name="T77" fmla="*/ 2147483646 h 110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0000" h="11017">
                  <a:moveTo>
                    <a:pt x="9226" y="329"/>
                  </a:moveTo>
                  <a:cubicBezTo>
                    <a:pt x="8904" y="611"/>
                    <a:pt x="8531" y="1035"/>
                    <a:pt x="8261" y="1176"/>
                  </a:cubicBezTo>
                  <a:cubicBezTo>
                    <a:pt x="7992" y="1317"/>
                    <a:pt x="7826" y="1176"/>
                    <a:pt x="7609" y="1176"/>
                  </a:cubicBezTo>
                  <a:cubicBezTo>
                    <a:pt x="7536" y="882"/>
                    <a:pt x="7464" y="588"/>
                    <a:pt x="7391" y="294"/>
                  </a:cubicBezTo>
                  <a:lnTo>
                    <a:pt x="7174" y="0"/>
                  </a:lnTo>
                  <a:lnTo>
                    <a:pt x="6522" y="882"/>
                  </a:lnTo>
                  <a:cubicBezTo>
                    <a:pt x="6377" y="1078"/>
                    <a:pt x="6298" y="1425"/>
                    <a:pt x="6087" y="1471"/>
                  </a:cubicBezTo>
                  <a:cubicBezTo>
                    <a:pt x="5876" y="1517"/>
                    <a:pt x="5533" y="1264"/>
                    <a:pt x="5256" y="1160"/>
                  </a:cubicBezTo>
                  <a:cubicBezTo>
                    <a:pt x="5098" y="1165"/>
                    <a:pt x="4971" y="1173"/>
                    <a:pt x="4783" y="1176"/>
                  </a:cubicBezTo>
                  <a:cubicBezTo>
                    <a:pt x="4595" y="1179"/>
                    <a:pt x="4348" y="1176"/>
                    <a:pt x="4130" y="1176"/>
                  </a:cubicBezTo>
                  <a:lnTo>
                    <a:pt x="3261" y="882"/>
                  </a:lnTo>
                  <a:cubicBezTo>
                    <a:pt x="3188" y="1372"/>
                    <a:pt x="3116" y="1863"/>
                    <a:pt x="3043" y="2353"/>
                  </a:cubicBezTo>
                  <a:lnTo>
                    <a:pt x="1957" y="2941"/>
                  </a:lnTo>
                  <a:lnTo>
                    <a:pt x="1522" y="3529"/>
                  </a:lnTo>
                  <a:lnTo>
                    <a:pt x="870" y="3235"/>
                  </a:lnTo>
                  <a:lnTo>
                    <a:pt x="435" y="2941"/>
                  </a:lnTo>
                  <a:cubicBezTo>
                    <a:pt x="362" y="3529"/>
                    <a:pt x="290" y="4118"/>
                    <a:pt x="217" y="4706"/>
                  </a:cubicBezTo>
                  <a:cubicBezTo>
                    <a:pt x="145" y="5098"/>
                    <a:pt x="72" y="5490"/>
                    <a:pt x="0" y="5882"/>
                  </a:cubicBezTo>
                  <a:lnTo>
                    <a:pt x="0" y="7353"/>
                  </a:lnTo>
                  <a:lnTo>
                    <a:pt x="870" y="7941"/>
                  </a:lnTo>
                  <a:cubicBezTo>
                    <a:pt x="435" y="9706"/>
                    <a:pt x="559" y="9259"/>
                    <a:pt x="435" y="9706"/>
                  </a:cubicBezTo>
                  <a:cubicBezTo>
                    <a:pt x="311" y="10153"/>
                    <a:pt x="27" y="10425"/>
                    <a:pt x="124" y="10621"/>
                  </a:cubicBezTo>
                  <a:cubicBezTo>
                    <a:pt x="221" y="10817"/>
                    <a:pt x="794" y="10837"/>
                    <a:pt x="1017" y="10882"/>
                  </a:cubicBezTo>
                  <a:cubicBezTo>
                    <a:pt x="1240" y="10927"/>
                    <a:pt x="1315" y="10844"/>
                    <a:pt x="1460" y="10893"/>
                  </a:cubicBezTo>
                  <a:cubicBezTo>
                    <a:pt x="1605" y="10942"/>
                    <a:pt x="2180" y="11085"/>
                    <a:pt x="2676" y="10980"/>
                  </a:cubicBezTo>
                  <a:cubicBezTo>
                    <a:pt x="3172" y="10875"/>
                    <a:pt x="4096" y="10604"/>
                    <a:pt x="4434" y="10261"/>
                  </a:cubicBezTo>
                  <a:cubicBezTo>
                    <a:pt x="4772" y="9918"/>
                    <a:pt x="4517" y="9199"/>
                    <a:pt x="4703" y="8921"/>
                  </a:cubicBezTo>
                  <a:cubicBezTo>
                    <a:pt x="4889" y="8643"/>
                    <a:pt x="5182" y="8785"/>
                    <a:pt x="5548" y="8595"/>
                  </a:cubicBezTo>
                  <a:cubicBezTo>
                    <a:pt x="5914" y="8405"/>
                    <a:pt x="6666" y="8083"/>
                    <a:pt x="6899" y="7778"/>
                  </a:cubicBezTo>
                  <a:cubicBezTo>
                    <a:pt x="7133" y="7473"/>
                    <a:pt x="6892" y="6977"/>
                    <a:pt x="6949" y="6764"/>
                  </a:cubicBezTo>
                  <a:cubicBezTo>
                    <a:pt x="7006" y="6552"/>
                    <a:pt x="7127" y="6617"/>
                    <a:pt x="7239" y="6503"/>
                  </a:cubicBezTo>
                  <a:cubicBezTo>
                    <a:pt x="7351" y="6389"/>
                    <a:pt x="7449" y="6339"/>
                    <a:pt x="7621" y="6078"/>
                  </a:cubicBezTo>
                  <a:cubicBezTo>
                    <a:pt x="7793" y="5817"/>
                    <a:pt x="8142" y="5240"/>
                    <a:pt x="8271" y="4935"/>
                  </a:cubicBezTo>
                  <a:cubicBezTo>
                    <a:pt x="8400" y="4630"/>
                    <a:pt x="8303" y="4537"/>
                    <a:pt x="8395" y="4248"/>
                  </a:cubicBezTo>
                  <a:cubicBezTo>
                    <a:pt x="8487" y="3959"/>
                    <a:pt x="8811" y="3568"/>
                    <a:pt x="8825" y="3203"/>
                  </a:cubicBezTo>
                  <a:cubicBezTo>
                    <a:pt x="8839" y="2838"/>
                    <a:pt x="8282" y="2299"/>
                    <a:pt x="8478" y="2059"/>
                  </a:cubicBezTo>
                  <a:cubicBezTo>
                    <a:pt x="8674" y="1819"/>
                    <a:pt x="9493" y="1863"/>
                    <a:pt x="10000" y="1765"/>
                  </a:cubicBezTo>
                  <a:lnTo>
                    <a:pt x="9565" y="882"/>
                  </a:lnTo>
                  <a:lnTo>
                    <a:pt x="9226" y="32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6" name="Freeform 298"/>
            <p:cNvSpPr>
              <a:spLocks/>
            </p:cNvSpPr>
            <p:nvPr/>
          </p:nvSpPr>
          <p:spPr bwMode="auto">
            <a:xfrm>
              <a:off x="6670254" y="3860411"/>
              <a:ext cx="103780" cy="132512"/>
            </a:xfrm>
            <a:custGeom>
              <a:avLst/>
              <a:gdLst>
                <a:gd name="T0" fmla="*/ 2147483646 w 90"/>
                <a:gd name="T1" fmla="*/ 2147483646 h 78"/>
                <a:gd name="T2" fmla="*/ 2147483646 w 90"/>
                <a:gd name="T3" fmla="*/ 2147483646 h 78"/>
                <a:gd name="T4" fmla="*/ 2147483646 w 90"/>
                <a:gd name="T5" fmla="*/ 2147483646 h 78"/>
                <a:gd name="T6" fmla="*/ 2147483646 w 90"/>
                <a:gd name="T7" fmla="*/ 2147483646 h 78"/>
                <a:gd name="T8" fmla="*/ 2147483646 w 90"/>
                <a:gd name="T9" fmla="*/ 0 h 78"/>
                <a:gd name="T10" fmla="*/ 2147483646 w 90"/>
                <a:gd name="T11" fmla="*/ 0 h 78"/>
                <a:gd name="T12" fmla="*/ 2147483646 w 90"/>
                <a:gd name="T13" fmla="*/ 2147483646 h 78"/>
                <a:gd name="T14" fmla="*/ 0 w 90"/>
                <a:gd name="T15" fmla="*/ 2147483646 h 78"/>
                <a:gd name="T16" fmla="*/ 2147483646 w 90"/>
                <a:gd name="T17" fmla="*/ 2147483646 h 78"/>
                <a:gd name="T18" fmla="*/ 2147483646 w 90"/>
                <a:gd name="T19" fmla="*/ 2147483646 h 78"/>
                <a:gd name="T20" fmla="*/ 2147483646 w 90"/>
                <a:gd name="T21" fmla="*/ 2147483646 h 78"/>
                <a:gd name="T22" fmla="*/ 2147483646 w 90"/>
                <a:gd name="T23" fmla="*/ 2147483646 h 78"/>
                <a:gd name="T24" fmla="*/ 2147483646 w 90"/>
                <a:gd name="T25" fmla="*/ 2147483646 h 78"/>
                <a:gd name="T26" fmla="*/ 2147483646 w 90"/>
                <a:gd name="T27" fmla="*/ 2147483646 h 78"/>
                <a:gd name="T28" fmla="*/ 2147483646 w 90"/>
                <a:gd name="T29" fmla="*/ 2147483646 h 7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0" h="78">
                  <a:moveTo>
                    <a:pt x="72" y="42"/>
                  </a:moveTo>
                  <a:lnTo>
                    <a:pt x="78" y="30"/>
                  </a:lnTo>
                  <a:lnTo>
                    <a:pt x="84" y="18"/>
                  </a:lnTo>
                  <a:lnTo>
                    <a:pt x="48" y="12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18" y="78"/>
                  </a:lnTo>
                  <a:lnTo>
                    <a:pt x="54" y="72"/>
                  </a:lnTo>
                  <a:lnTo>
                    <a:pt x="78" y="66"/>
                  </a:lnTo>
                  <a:lnTo>
                    <a:pt x="84" y="72"/>
                  </a:lnTo>
                  <a:lnTo>
                    <a:pt x="90" y="48"/>
                  </a:lnTo>
                  <a:lnTo>
                    <a:pt x="72" y="4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7" name="Freeform 331"/>
            <p:cNvSpPr>
              <a:spLocks/>
            </p:cNvSpPr>
            <p:nvPr/>
          </p:nvSpPr>
          <p:spPr bwMode="auto">
            <a:xfrm>
              <a:off x="6446616" y="3688747"/>
              <a:ext cx="197327" cy="114443"/>
            </a:xfrm>
            <a:custGeom>
              <a:avLst/>
              <a:gdLst>
                <a:gd name="T0" fmla="*/ 2147483646 w 10000"/>
                <a:gd name="T1" fmla="*/ 2147483646 h 11631"/>
                <a:gd name="T2" fmla="*/ 2147483646 w 10000"/>
                <a:gd name="T3" fmla="*/ 2147483646 h 11631"/>
                <a:gd name="T4" fmla="*/ 2147483646 w 10000"/>
                <a:gd name="T5" fmla="*/ 2147483646 h 11631"/>
                <a:gd name="T6" fmla="*/ 2147483646 w 10000"/>
                <a:gd name="T7" fmla="*/ 0 h 11631"/>
                <a:gd name="T8" fmla="*/ 0 w 10000"/>
                <a:gd name="T9" fmla="*/ 2147483646 h 11631"/>
                <a:gd name="T10" fmla="*/ 2147483646 w 10000"/>
                <a:gd name="T11" fmla="*/ 2147483646 h 11631"/>
                <a:gd name="T12" fmla="*/ 2147483646 w 10000"/>
                <a:gd name="T13" fmla="*/ 2147483646 h 11631"/>
                <a:gd name="T14" fmla="*/ 2147483646 w 10000"/>
                <a:gd name="T15" fmla="*/ 2147483646 h 11631"/>
                <a:gd name="T16" fmla="*/ 2147483646 w 10000"/>
                <a:gd name="T17" fmla="*/ 2147483646 h 11631"/>
                <a:gd name="T18" fmla="*/ 2147483646 w 10000"/>
                <a:gd name="T19" fmla="*/ 2147483646 h 11631"/>
                <a:gd name="T20" fmla="*/ 2147483646 w 10000"/>
                <a:gd name="T21" fmla="*/ 2147483646 h 11631"/>
                <a:gd name="T22" fmla="*/ 2147483646 w 10000"/>
                <a:gd name="T23" fmla="*/ 2147483646 h 11631"/>
                <a:gd name="T24" fmla="*/ 2147483646 w 10000"/>
                <a:gd name="T25" fmla="*/ 2147483646 h 116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000" h="11631">
                  <a:moveTo>
                    <a:pt x="7686" y="5391"/>
                  </a:moveTo>
                  <a:lnTo>
                    <a:pt x="5498" y="4472"/>
                  </a:lnTo>
                  <a:lnTo>
                    <a:pt x="2084" y="1164"/>
                  </a:lnTo>
                  <a:lnTo>
                    <a:pt x="886" y="0"/>
                  </a:lnTo>
                  <a:lnTo>
                    <a:pt x="0" y="4803"/>
                  </a:lnTo>
                  <a:lnTo>
                    <a:pt x="3459" y="9284"/>
                  </a:lnTo>
                  <a:lnTo>
                    <a:pt x="5903" y="10259"/>
                  </a:lnTo>
                  <a:lnTo>
                    <a:pt x="8016" y="11631"/>
                  </a:lnTo>
                  <a:lnTo>
                    <a:pt x="8676" y="8710"/>
                  </a:lnTo>
                  <a:lnTo>
                    <a:pt x="10000" y="8128"/>
                  </a:lnTo>
                  <a:lnTo>
                    <a:pt x="8915" y="6759"/>
                  </a:lnTo>
                  <a:lnTo>
                    <a:pt x="8310" y="6622"/>
                  </a:lnTo>
                  <a:cubicBezTo>
                    <a:pt x="8207" y="6039"/>
                    <a:pt x="7790" y="5973"/>
                    <a:pt x="7686" y="5391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8" name="Freeform 447"/>
            <p:cNvSpPr>
              <a:spLocks/>
            </p:cNvSpPr>
            <p:nvPr/>
          </p:nvSpPr>
          <p:spPr bwMode="auto">
            <a:xfrm>
              <a:off x="6766725" y="3816742"/>
              <a:ext cx="214868" cy="465300"/>
            </a:xfrm>
            <a:custGeom>
              <a:avLst/>
              <a:gdLst>
                <a:gd name="T0" fmla="*/ 2147483646 w 11115"/>
                <a:gd name="T1" fmla="*/ 0 h 10000"/>
                <a:gd name="T2" fmla="*/ 2147483646 w 11115"/>
                <a:gd name="T3" fmla="*/ 2147483646 h 10000"/>
                <a:gd name="T4" fmla="*/ 2147483646 w 11115"/>
                <a:gd name="T5" fmla="*/ 2147483646 h 10000"/>
                <a:gd name="T6" fmla="*/ 2147483646 w 11115"/>
                <a:gd name="T7" fmla="*/ 2147483646 h 10000"/>
                <a:gd name="T8" fmla="*/ 2147483646 w 11115"/>
                <a:gd name="T9" fmla="*/ 2147483646 h 10000"/>
                <a:gd name="T10" fmla="*/ 1473634416 w 11115"/>
                <a:gd name="T11" fmla="*/ 2147483646 h 10000"/>
                <a:gd name="T12" fmla="*/ 0 w 11115"/>
                <a:gd name="T13" fmla="*/ 2147483646 h 10000"/>
                <a:gd name="T14" fmla="*/ 2147483646 w 11115"/>
                <a:gd name="T15" fmla="*/ 2147483646 h 10000"/>
                <a:gd name="T16" fmla="*/ 2147483646 w 11115"/>
                <a:gd name="T17" fmla="*/ 2147483646 h 10000"/>
                <a:gd name="T18" fmla="*/ 2147483646 w 11115"/>
                <a:gd name="T19" fmla="*/ 2147483646 h 10000"/>
                <a:gd name="T20" fmla="*/ 2147483646 w 11115"/>
                <a:gd name="T21" fmla="*/ 2147483646 h 10000"/>
                <a:gd name="T22" fmla="*/ 2147483646 w 11115"/>
                <a:gd name="T23" fmla="*/ 2147483646 h 10000"/>
                <a:gd name="T24" fmla="*/ 2147483646 w 11115"/>
                <a:gd name="T25" fmla="*/ 2147483646 h 10000"/>
                <a:gd name="T26" fmla="*/ 2147483646 w 11115"/>
                <a:gd name="T27" fmla="*/ 2147483646 h 10000"/>
                <a:gd name="T28" fmla="*/ 2147483646 w 11115"/>
                <a:gd name="T29" fmla="*/ 2147483646 h 10000"/>
                <a:gd name="T30" fmla="*/ 2147483646 w 11115"/>
                <a:gd name="T31" fmla="*/ 2147483646 h 10000"/>
                <a:gd name="T32" fmla="*/ 2147483646 w 11115"/>
                <a:gd name="T33" fmla="*/ 2147483646 h 10000"/>
                <a:gd name="T34" fmla="*/ 2147483646 w 11115"/>
                <a:gd name="T35" fmla="*/ 2147483646 h 10000"/>
                <a:gd name="T36" fmla="*/ 2147483646 w 11115"/>
                <a:gd name="T37" fmla="*/ 2147483646 h 10000"/>
                <a:gd name="T38" fmla="*/ 2147483646 w 11115"/>
                <a:gd name="T39" fmla="*/ 2147483646 h 10000"/>
                <a:gd name="T40" fmla="*/ 2147483646 w 11115"/>
                <a:gd name="T41" fmla="*/ 2147483646 h 10000"/>
                <a:gd name="T42" fmla="*/ 2147483646 w 11115"/>
                <a:gd name="T43" fmla="*/ 2147483646 h 10000"/>
                <a:gd name="T44" fmla="*/ 2147483646 w 11115"/>
                <a:gd name="T45" fmla="*/ 2147483646 h 10000"/>
                <a:gd name="T46" fmla="*/ 2147483646 w 11115"/>
                <a:gd name="T47" fmla="*/ 2147483646 h 10000"/>
                <a:gd name="T48" fmla="*/ 2147483646 w 11115"/>
                <a:gd name="T49" fmla="*/ 2147483646 h 10000"/>
                <a:gd name="T50" fmla="*/ 2147483646 w 11115"/>
                <a:gd name="T51" fmla="*/ 2147483646 h 10000"/>
                <a:gd name="T52" fmla="*/ 2147483646 w 11115"/>
                <a:gd name="T53" fmla="*/ 2147483646 h 10000"/>
                <a:gd name="T54" fmla="*/ 2147483646 w 11115"/>
                <a:gd name="T55" fmla="*/ 2147483646 h 10000"/>
                <a:gd name="T56" fmla="*/ 2147483646 w 11115"/>
                <a:gd name="T57" fmla="*/ 2147483646 h 10000"/>
                <a:gd name="T58" fmla="*/ 2147483646 w 11115"/>
                <a:gd name="T59" fmla="*/ 2147483646 h 10000"/>
                <a:gd name="T60" fmla="*/ 2147483646 w 11115"/>
                <a:gd name="T61" fmla="*/ 2147483646 h 10000"/>
                <a:gd name="T62" fmla="*/ 2147483646 w 11115"/>
                <a:gd name="T63" fmla="*/ 2147483646 h 10000"/>
                <a:gd name="T64" fmla="*/ 2147483646 w 11115"/>
                <a:gd name="T65" fmla="*/ 2147483646 h 10000"/>
                <a:gd name="T66" fmla="*/ 2147483646 w 11115"/>
                <a:gd name="T67" fmla="*/ 2147483646 h 10000"/>
                <a:gd name="T68" fmla="*/ 2147483646 w 11115"/>
                <a:gd name="T69" fmla="*/ 2147483646 h 10000"/>
                <a:gd name="T70" fmla="*/ 2147483646 w 11115"/>
                <a:gd name="T71" fmla="*/ 2147483646 h 10000"/>
                <a:gd name="T72" fmla="*/ 2147483646 w 11115"/>
                <a:gd name="T73" fmla="*/ 0 h 1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1115" h="10000">
                  <a:moveTo>
                    <a:pt x="6669" y="0"/>
                  </a:moveTo>
                  <a:lnTo>
                    <a:pt x="5217" y="627"/>
                  </a:lnTo>
                  <a:lnTo>
                    <a:pt x="4509" y="795"/>
                  </a:lnTo>
                  <a:lnTo>
                    <a:pt x="4285" y="602"/>
                  </a:lnTo>
                  <a:lnTo>
                    <a:pt x="1850" y="1511"/>
                  </a:lnTo>
                  <a:lnTo>
                    <a:pt x="361" y="2700"/>
                  </a:lnTo>
                  <a:lnTo>
                    <a:pt x="0" y="3527"/>
                  </a:lnTo>
                  <a:lnTo>
                    <a:pt x="2466" y="5401"/>
                  </a:lnTo>
                  <a:lnTo>
                    <a:pt x="1912" y="6416"/>
                  </a:lnTo>
                  <a:cubicBezTo>
                    <a:pt x="2658" y="6304"/>
                    <a:pt x="4006" y="6725"/>
                    <a:pt x="4751" y="6612"/>
                  </a:cubicBezTo>
                  <a:lnTo>
                    <a:pt x="6380" y="6578"/>
                  </a:lnTo>
                  <a:lnTo>
                    <a:pt x="5473" y="5791"/>
                  </a:lnTo>
                  <a:lnTo>
                    <a:pt x="6072" y="6005"/>
                  </a:lnTo>
                  <a:lnTo>
                    <a:pt x="6683" y="7153"/>
                  </a:lnTo>
                  <a:lnTo>
                    <a:pt x="7388" y="8015"/>
                  </a:lnTo>
                  <a:cubicBezTo>
                    <a:pt x="7359" y="8285"/>
                    <a:pt x="7584" y="9729"/>
                    <a:pt x="7556" y="10000"/>
                  </a:cubicBezTo>
                  <a:lnTo>
                    <a:pt x="9007" y="8884"/>
                  </a:lnTo>
                  <a:lnTo>
                    <a:pt x="8378" y="6935"/>
                  </a:lnTo>
                  <a:lnTo>
                    <a:pt x="7353" y="6381"/>
                  </a:lnTo>
                  <a:lnTo>
                    <a:pt x="7865" y="5938"/>
                  </a:lnTo>
                  <a:cubicBezTo>
                    <a:pt x="7836" y="5815"/>
                    <a:pt x="7808" y="5693"/>
                    <a:pt x="7779" y="5570"/>
                  </a:cubicBezTo>
                  <a:lnTo>
                    <a:pt x="6413" y="4795"/>
                  </a:lnTo>
                  <a:lnTo>
                    <a:pt x="7096" y="4205"/>
                  </a:lnTo>
                  <a:lnTo>
                    <a:pt x="7916" y="4196"/>
                  </a:lnTo>
                  <a:lnTo>
                    <a:pt x="9685" y="3821"/>
                  </a:lnTo>
                  <a:cubicBezTo>
                    <a:pt x="9793" y="3687"/>
                    <a:pt x="10219" y="3634"/>
                    <a:pt x="10327" y="3500"/>
                  </a:cubicBezTo>
                  <a:lnTo>
                    <a:pt x="11115" y="3002"/>
                  </a:lnTo>
                  <a:lnTo>
                    <a:pt x="9657" y="3072"/>
                  </a:lnTo>
                  <a:cubicBezTo>
                    <a:pt x="9631" y="3012"/>
                    <a:pt x="9604" y="2953"/>
                    <a:pt x="9578" y="2893"/>
                  </a:cubicBezTo>
                  <a:lnTo>
                    <a:pt x="8890" y="2693"/>
                  </a:lnTo>
                  <a:cubicBezTo>
                    <a:pt x="8870" y="2548"/>
                    <a:pt x="8849" y="2402"/>
                    <a:pt x="8829" y="2257"/>
                  </a:cubicBezTo>
                  <a:lnTo>
                    <a:pt x="7778" y="1711"/>
                  </a:lnTo>
                  <a:lnTo>
                    <a:pt x="7430" y="1763"/>
                  </a:lnTo>
                  <a:lnTo>
                    <a:pt x="7096" y="1550"/>
                  </a:lnTo>
                  <a:lnTo>
                    <a:pt x="7865" y="1254"/>
                  </a:lnTo>
                  <a:lnTo>
                    <a:pt x="7865" y="480"/>
                  </a:lnTo>
                  <a:lnTo>
                    <a:pt x="666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9" name="Freeform 233"/>
            <p:cNvSpPr>
              <a:spLocks/>
            </p:cNvSpPr>
            <p:nvPr/>
          </p:nvSpPr>
          <p:spPr bwMode="auto">
            <a:xfrm>
              <a:off x="6667331" y="3770062"/>
              <a:ext cx="81854" cy="46680"/>
            </a:xfrm>
            <a:custGeom>
              <a:avLst/>
              <a:gdLst>
                <a:gd name="T0" fmla="*/ 0 w 348468"/>
                <a:gd name="T1" fmla="*/ 153 h 191264"/>
                <a:gd name="T2" fmla="*/ 110 w 348468"/>
                <a:gd name="T3" fmla="*/ 215 h 191264"/>
                <a:gd name="T4" fmla="*/ 175 w 348468"/>
                <a:gd name="T5" fmla="*/ 183 h 191264"/>
                <a:gd name="T6" fmla="*/ 235 w 348468"/>
                <a:gd name="T7" fmla="*/ 212 h 191264"/>
                <a:gd name="T8" fmla="*/ 351 w 348468"/>
                <a:gd name="T9" fmla="*/ 189 h 191264"/>
                <a:gd name="T10" fmla="*/ 376 w 348468"/>
                <a:gd name="T11" fmla="*/ 118 h 191264"/>
                <a:gd name="T12" fmla="*/ 274 w 348468"/>
                <a:gd name="T13" fmla="*/ 6 h 191264"/>
                <a:gd name="T14" fmla="*/ 181 w 348468"/>
                <a:gd name="T15" fmla="*/ 24 h 191264"/>
                <a:gd name="T16" fmla="*/ 124 w 348468"/>
                <a:gd name="T17" fmla="*/ 0 h 191264"/>
                <a:gd name="T18" fmla="*/ 31 w 348468"/>
                <a:gd name="T19" fmla="*/ 83 h 191264"/>
                <a:gd name="T20" fmla="*/ 0 w 348468"/>
                <a:gd name="T21" fmla="*/ 153 h 1912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8468" h="191264">
                  <a:moveTo>
                    <a:pt x="0" y="136243"/>
                  </a:moveTo>
                  <a:lnTo>
                    <a:pt x="102182" y="191264"/>
                  </a:lnTo>
                  <a:lnTo>
                    <a:pt x="162443" y="162443"/>
                  </a:lnTo>
                  <a:lnTo>
                    <a:pt x="217465" y="188644"/>
                  </a:lnTo>
                  <a:lnTo>
                    <a:pt x="324887" y="167683"/>
                  </a:lnTo>
                  <a:lnTo>
                    <a:pt x="348468" y="104802"/>
                  </a:lnTo>
                  <a:lnTo>
                    <a:pt x="254145" y="5240"/>
                  </a:lnTo>
                  <a:lnTo>
                    <a:pt x="167684" y="20960"/>
                  </a:lnTo>
                  <a:lnTo>
                    <a:pt x="115282" y="0"/>
                  </a:lnTo>
                  <a:lnTo>
                    <a:pt x="28821" y="73361"/>
                  </a:lnTo>
                  <a:lnTo>
                    <a:pt x="0" y="13624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0" name="Freeform 448"/>
            <p:cNvSpPr>
              <a:spLocks/>
            </p:cNvSpPr>
            <p:nvPr/>
          </p:nvSpPr>
          <p:spPr bwMode="auto">
            <a:xfrm>
              <a:off x="6975747" y="4363356"/>
              <a:ext cx="118396" cy="140041"/>
            </a:xfrm>
            <a:custGeom>
              <a:avLst/>
              <a:gdLst>
                <a:gd name="T0" fmla="*/ 0 w 675"/>
                <a:gd name="T1" fmla="*/ 2147483646 h 773"/>
                <a:gd name="T2" fmla="*/ 2147483646 w 675"/>
                <a:gd name="T3" fmla="*/ 2147483646 h 773"/>
                <a:gd name="T4" fmla="*/ 2147483646 w 675"/>
                <a:gd name="T5" fmla="*/ 2147483646 h 773"/>
                <a:gd name="T6" fmla="*/ 2147483646 w 675"/>
                <a:gd name="T7" fmla="*/ 2147483646 h 773"/>
                <a:gd name="T8" fmla="*/ 2147483646 w 675"/>
                <a:gd name="T9" fmla="*/ 2147483646 h 773"/>
                <a:gd name="T10" fmla="*/ 2147483646 w 675"/>
                <a:gd name="T11" fmla="*/ 2147483646 h 773"/>
                <a:gd name="T12" fmla="*/ 2147483646 w 675"/>
                <a:gd name="T13" fmla="*/ 2147483646 h 773"/>
                <a:gd name="T14" fmla="*/ 2147483646 w 675"/>
                <a:gd name="T15" fmla="*/ 2147483646 h 773"/>
                <a:gd name="T16" fmla="*/ 2147483646 w 675"/>
                <a:gd name="T17" fmla="*/ 2147483646 h 773"/>
                <a:gd name="T18" fmla="*/ 2147483646 w 675"/>
                <a:gd name="T19" fmla="*/ 2147483646 h 773"/>
                <a:gd name="T20" fmla="*/ 2147483646 w 675"/>
                <a:gd name="T21" fmla="*/ 2147483646 h 773"/>
                <a:gd name="T22" fmla="*/ 2147483646 w 675"/>
                <a:gd name="T23" fmla="*/ 2147483646 h 773"/>
                <a:gd name="T24" fmla="*/ 2147483646 w 675"/>
                <a:gd name="T25" fmla="*/ 2147483646 h 773"/>
                <a:gd name="T26" fmla="*/ 2147483646 w 675"/>
                <a:gd name="T27" fmla="*/ 0 h 773"/>
                <a:gd name="T28" fmla="*/ 0 w 675"/>
                <a:gd name="T29" fmla="*/ 2147483646 h 77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75" h="773">
                  <a:moveTo>
                    <a:pt x="0" y="41"/>
                  </a:moveTo>
                  <a:lnTo>
                    <a:pt x="75" y="339"/>
                  </a:lnTo>
                  <a:lnTo>
                    <a:pt x="273" y="579"/>
                  </a:lnTo>
                  <a:lnTo>
                    <a:pt x="605" y="769"/>
                  </a:lnTo>
                  <a:lnTo>
                    <a:pt x="675" y="773"/>
                  </a:lnTo>
                  <a:lnTo>
                    <a:pt x="563" y="583"/>
                  </a:lnTo>
                  <a:lnTo>
                    <a:pt x="493" y="521"/>
                  </a:lnTo>
                  <a:lnTo>
                    <a:pt x="493" y="269"/>
                  </a:lnTo>
                  <a:lnTo>
                    <a:pt x="323" y="78"/>
                  </a:lnTo>
                  <a:lnTo>
                    <a:pt x="286" y="58"/>
                  </a:lnTo>
                  <a:lnTo>
                    <a:pt x="253" y="111"/>
                  </a:lnTo>
                  <a:lnTo>
                    <a:pt x="141" y="128"/>
                  </a:lnTo>
                  <a:lnTo>
                    <a:pt x="145" y="70"/>
                  </a:lnTo>
                  <a:lnTo>
                    <a:pt x="17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1" name="Freeform 330"/>
            <p:cNvSpPr>
              <a:spLocks/>
            </p:cNvSpPr>
            <p:nvPr/>
          </p:nvSpPr>
          <p:spPr bwMode="auto">
            <a:xfrm>
              <a:off x="7007904" y="3929679"/>
              <a:ext cx="184173" cy="373444"/>
            </a:xfrm>
            <a:custGeom>
              <a:avLst/>
              <a:gdLst>
                <a:gd name="T0" fmla="*/ 2147483646 w 138"/>
                <a:gd name="T1" fmla="*/ 0 h 271"/>
                <a:gd name="T2" fmla="*/ 2147483646 w 138"/>
                <a:gd name="T3" fmla="*/ 0 h 271"/>
                <a:gd name="T4" fmla="*/ 0 w 138"/>
                <a:gd name="T5" fmla="*/ 2147483646 h 271"/>
                <a:gd name="T6" fmla="*/ 2147483646 w 138"/>
                <a:gd name="T7" fmla="*/ 2147483646 h 271"/>
                <a:gd name="T8" fmla="*/ 2147483646 w 138"/>
                <a:gd name="T9" fmla="*/ 2147483646 h 271"/>
                <a:gd name="T10" fmla="*/ 2147483646 w 138"/>
                <a:gd name="T11" fmla="*/ 2147483646 h 271"/>
                <a:gd name="T12" fmla="*/ 2147483646 w 138"/>
                <a:gd name="T13" fmla="*/ 2147483646 h 271"/>
                <a:gd name="T14" fmla="*/ 2147483646 w 138"/>
                <a:gd name="T15" fmla="*/ 2147483646 h 271"/>
                <a:gd name="T16" fmla="*/ 2147483646 w 138"/>
                <a:gd name="T17" fmla="*/ 2147483646 h 271"/>
                <a:gd name="T18" fmla="*/ 2147483646 w 138"/>
                <a:gd name="T19" fmla="*/ 2147483646 h 271"/>
                <a:gd name="T20" fmla="*/ 2147483646 w 138"/>
                <a:gd name="T21" fmla="*/ 2147483646 h 271"/>
                <a:gd name="T22" fmla="*/ 2147483646 w 138"/>
                <a:gd name="T23" fmla="*/ 2147483646 h 271"/>
                <a:gd name="T24" fmla="*/ 2147483646 w 138"/>
                <a:gd name="T25" fmla="*/ 2147483646 h 271"/>
                <a:gd name="T26" fmla="*/ 2147483646 w 138"/>
                <a:gd name="T27" fmla="*/ 2147483646 h 271"/>
                <a:gd name="T28" fmla="*/ 2147483646 w 138"/>
                <a:gd name="T29" fmla="*/ 2147483646 h 271"/>
                <a:gd name="T30" fmla="*/ 2147483646 w 138"/>
                <a:gd name="T31" fmla="*/ 2147483646 h 271"/>
                <a:gd name="T32" fmla="*/ 2147483646 w 138"/>
                <a:gd name="T33" fmla="*/ 2147483646 h 271"/>
                <a:gd name="T34" fmla="*/ 2147483646 w 138"/>
                <a:gd name="T35" fmla="*/ 2147483646 h 271"/>
                <a:gd name="T36" fmla="*/ 2147483646 w 138"/>
                <a:gd name="T37" fmla="*/ 2147483646 h 271"/>
                <a:gd name="T38" fmla="*/ 2147483646 w 138"/>
                <a:gd name="T39" fmla="*/ 2147483646 h 271"/>
                <a:gd name="T40" fmla="*/ 2147483646 w 138"/>
                <a:gd name="T41" fmla="*/ 2147483646 h 271"/>
                <a:gd name="T42" fmla="*/ 2147483646 w 138"/>
                <a:gd name="T43" fmla="*/ 2147483646 h 271"/>
                <a:gd name="T44" fmla="*/ 2147483646 w 138"/>
                <a:gd name="T45" fmla="*/ 2147483646 h 271"/>
                <a:gd name="T46" fmla="*/ 2147483646 w 138"/>
                <a:gd name="T47" fmla="*/ 2147483646 h 271"/>
                <a:gd name="T48" fmla="*/ 2147483646 w 138"/>
                <a:gd name="T49" fmla="*/ 2147483646 h 271"/>
                <a:gd name="T50" fmla="*/ 2147483646 w 138"/>
                <a:gd name="T51" fmla="*/ 2147483646 h 271"/>
                <a:gd name="T52" fmla="*/ 2147483646 w 138"/>
                <a:gd name="T53" fmla="*/ 2147483646 h 271"/>
                <a:gd name="T54" fmla="*/ 2147483646 w 138"/>
                <a:gd name="T55" fmla="*/ 2147483646 h 271"/>
                <a:gd name="T56" fmla="*/ 2147483646 w 138"/>
                <a:gd name="T57" fmla="*/ 0 h 2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8" h="271">
                  <a:moveTo>
                    <a:pt x="66" y="0"/>
                  </a:moveTo>
                  <a:lnTo>
                    <a:pt x="6" y="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8" y="42"/>
                  </a:lnTo>
                  <a:lnTo>
                    <a:pt x="36" y="48"/>
                  </a:lnTo>
                  <a:lnTo>
                    <a:pt x="42" y="60"/>
                  </a:lnTo>
                  <a:lnTo>
                    <a:pt x="36" y="72"/>
                  </a:lnTo>
                  <a:lnTo>
                    <a:pt x="54" y="96"/>
                  </a:lnTo>
                  <a:lnTo>
                    <a:pt x="78" y="126"/>
                  </a:lnTo>
                  <a:lnTo>
                    <a:pt x="96" y="144"/>
                  </a:lnTo>
                  <a:lnTo>
                    <a:pt x="96" y="175"/>
                  </a:lnTo>
                  <a:lnTo>
                    <a:pt x="96" y="211"/>
                  </a:lnTo>
                  <a:lnTo>
                    <a:pt x="78" y="223"/>
                  </a:lnTo>
                  <a:lnTo>
                    <a:pt x="60" y="229"/>
                  </a:lnTo>
                  <a:lnTo>
                    <a:pt x="54" y="241"/>
                  </a:lnTo>
                  <a:lnTo>
                    <a:pt x="42" y="247"/>
                  </a:lnTo>
                  <a:lnTo>
                    <a:pt x="48" y="253"/>
                  </a:lnTo>
                  <a:lnTo>
                    <a:pt x="66" y="271"/>
                  </a:lnTo>
                  <a:lnTo>
                    <a:pt x="108" y="241"/>
                  </a:lnTo>
                  <a:lnTo>
                    <a:pt x="138" y="211"/>
                  </a:lnTo>
                  <a:lnTo>
                    <a:pt x="114" y="132"/>
                  </a:lnTo>
                  <a:lnTo>
                    <a:pt x="102" y="114"/>
                  </a:lnTo>
                  <a:lnTo>
                    <a:pt x="78" y="84"/>
                  </a:lnTo>
                  <a:lnTo>
                    <a:pt x="66" y="60"/>
                  </a:lnTo>
                  <a:lnTo>
                    <a:pt x="78" y="48"/>
                  </a:lnTo>
                  <a:lnTo>
                    <a:pt x="96" y="36"/>
                  </a:lnTo>
                  <a:lnTo>
                    <a:pt x="90" y="1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2" name="Freeform 329"/>
            <p:cNvSpPr>
              <a:spLocks/>
            </p:cNvSpPr>
            <p:nvPr/>
          </p:nvSpPr>
          <p:spPr bwMode="auto">
            <a:xfrm>
              <a:off x="6950898" y="3953772"/>
              <a:ext cx="194405" cy="218344"/>
            </a:xfrm>
            <a:custGeom>
              <a:avLst/>
              <a:gdLst>
                <a:gd name="T0" fmla="*/ 2147483646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2147483646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0 h 10000"/>
                <a:gd name="T20" fmla="*/ 2147483646 w 10000"/>
                <a:gd name="T21" fmla="*/ 0 h 10000"/>
                <a:gd name="T22" fmla="*/ 2147483646 w 10000"/>
                <a:gd name="T23" fmla="*/ 2147483646 h 10000"/>
                <a:gd name="T24" fmla="*/ 0 w 10000"/>
                <a:gd name="T25" fmla="*/ 2147483646 h 10000"/>
                <a:gd name="T26" fmla="*/ 2147483646 w 10000"/>
                <a:gd name="T27" fmla="*/ 2147483646 h 10000"/>
                <a:gd name="T28" fmla="*/ 2147483646 w 10000"/>
                <a:gd name="T29" fmla="*/ 2147483646 h 10000"/>
                <a:gd name="T30" fmla="*/ 2147483646 w 10000"/>
                <a:gd name="T31" fmla="*/ 2147483646 h 10000"/>
                <a:gd name="T32" fmla="*/ 2147483646 w 10000"/>
                <a:gd name="T33" fmla="*/ 2147483646 h 10000"/>
                <a:gd name="T34" fmla="*/ 2147483646 w 10000"/>
                <a:gd name="T35" fmla="*/ 2147483646 h 10000"/>
                <a:gd name="T36" fmla="*/ 2147483646 w 10000"/>
                <a:gd name="T37" fmla="*/ 2147483646 h 10000"/>
                <a:gd name="T38" fmla="*/ 2147483646 w 10000"/>
                <a:gd name="T39" fmla="*/ 2147483646 h 1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00" h="10000">
                  <a:moveTo>
                    <a:pt x="8672" y="9830"/>
                  </a:moveTo>
                  <a:lnTo>
                    <a:pt x="10000" y="10000"/>
                  </a:lnTo>
                  <a:lnTo>
                    <a:pt x="10000" y="7948"/>
                  </a:lnTo>
                  <a:lnTo>
                    <a:pt x="8696" y="6754"/>
                  </a:lnTo>
                  <a:lnTo>
                    <a:pt x="6957" y="4769"/>
                  </a:lnTo>
                  <a:lnTo>
                    <a:pt x="5652" y="3176"/>
                  </a:lnTo>
                  <a:lnTo>
                    <a:pt x="6087" y="2384"/>
                  </a:lnTo>
                  <a:lnTo>
                    <a:pt x="5652" y="1590"/>
                  </a:lnTo>
                  <a:lnTo>
                    <a:pt x="4348" y="1191"/>
                  </a:lnTo>
                  <a:lnTo>
                    <a:pt x="3478" y="0"/>
                  </a:lnTo>
                  <a:lnTo>
                    <a:pt x="3043" y="0"/>
                  </a:lnTo>
                  <a:lnTo>
                    <a:pt x="870" y="396"/>
                  </a:lnTo>
                  <a:lnTo>
                    <a:pt x="0" y="1590"/>
                  </a:lnTo>
                  <a:lnTo>
                    <a:pt x="435" y="2384"/>
                  </a:lnTo>
                  <a:lnTo>
                    <a:pt x="870" y="4769"/>
                  </a:lnTo>
                  <a:lnTo>
                    <a:pt x="3913" y="4769"/>
                  </a:lnTo>
                  <a:lnTo>
                    <a:pt x="5217" y="5165"/>
                  </a:lnTo>
                  <a:lnTo>
                    <a:pt x="7391" y="8344"/>
                  </a:lnTo>
                  <a:lnTo>
                    <a:pt x="6957" y="9602"/>
                  </a:lnTo>
                  <a:lnTo>
                    <a:pt x="8672" y="98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3" name="Freeform 447"/>
            <p:cNvSpPr>
              <a:spLocks/>
            </p:cNvSpPr>
            <p:nvPr/>
          </p:nvSpPr>
          <p:spPr bwMode="auto">
            <a:xfrm>
              <a:off x="6768188" y="3822765"/>
              <a:ext cx="248487" cy="465300"/>
            </a:xfrm>
            <a:custGeom>
              <a:avLst/>
              <a:gdLst>
                <a:gd name="T0" fmla="*/ 2147483646 w 12864"/>
                <a:gd name="T1" fmla="*/ 0 h 10000"/>
                <a:gd name="T2" fmla="*/ 2147483646 w 12864"/>
                <a:gd name="T3" fmla="*/ 2147483646 h 10000"/>
                <a:gd name="T4" fmla="*/ 2147483646 w 12864"/>
                <a:gd name="T5" fmla="*/ 2147483646 h 10000"/>
                <a:gd name="T6" fmla="*/ 2147483646 w 12864"/>
                <a:gd name="T7" fmla="*/ 2147483646 h 10000"/>
                <a:gd name="T8" fmla="*/ 2147483646 w 12864"/>
                <a:gd name="T9" fmla="*/ 2147483646 h 10000"/>
                <a:gd name="T10" fmla="*/ 1469074108 w 12864"/>
                <a:gd name="T11" fmla="*/ 2147483646 h 10000"/>
                <a:gd name="T12" fmla="*/ 0 w 12864"/>
                <a:gd name="T13" fmla="*/ 2147483646 h 10000"/>
                <a:gd name="T14" fmla="*/ 2147483646 w 12864"/>
                <a:gd name="T15" fmla="*/ 2147483646 h 10000"/>
                <a:gd name="T16" fmla="*/ 2147483646 w 12864"/>
                <a:gd name="T17" fmla="*/ 2147483646 h 10000"/>
                <a:gd name="T18" fmla="*/ 2147483646 w 12864"/>
                <a:gd name="T19" fmla="*/ 2147483646 h 10000"/>
                <a:gd name="T20" fmla="*/ 2147483646 w 12864"/>
                <a:gd name="T21" fmla="*/ 2147483646 h 10000"/>
                <a:gd name="T22" fmla="*/ 2147483646 w 12864"/>
                <a:gd name="T23" fmla="*/ 2147483646 h 10000"/>
                <a:gd name="T24" fmla="*/ 2147483646 w 12864"/>
                <a:gd name="T25" fmla="*/ 2147483646 h 10000"/>
                <a:gd name="T26" fmla="*/ 2147483646 w 12864"/>
                <a:gd name="T27" fmla="*/ 2147483646 h 10000"/>
                <a:gd name="T28" fmla="*/ 2147483646 w 12864"/>
                <a:gd name="T29" fmla="*/ 2147483646 h 10000"/>
                <a:gd name="T30" fmla="*/ 2147483646 w 12864"/>
                <a:gd name="T31" fmla="*/ 2147483646 h 10000"/>
                <a:gd name="T32" fmla="*/ 2147483646 w 12864"/>
                <a:gd name="T33" fmla="*/ 2147483646 h 10000"/>
                <a:gd name="T34" fmla="*/ 2147483646 w 12864"/>
                <a:gd name="T35" fmla="*/ 2147483646 h 10000"/>
                <a:gd name="T36" fmla="*/ 2147483646 w 12864"/>
                <a:gd name="T37" fmla="*/ 2147483646 h 10000"/>
                <a:gd name="T38" fmla="*/ 2147483646 w 12864"/>
                <a:gd name="T39" fmla="*/ 2147483646 h 10000"/>
                <a:gd name="T40" fmla="*/ 2147483646 w 12864"/>
                <a:gd name="T41" fmla="*/ 2147483646 h 10000"/>
                <a:gd name="T42" fmla="*/ 2147483646 w 12864"/>
                <a:gd name="T43" fmla="*/ 2147483646 h 10000"/>
                <a:gd name="T44" fmla="*/ 2147483646 w 12864"/>
                <a:gd name="T45" fmla="*/ 2147483646 h 10000"/>
                <a:gd name="T46" fmla="*/ 2147483646 w 12864"/>
                <a:gd name="T47" fmla="*/ 2147483646 h 10000"/>
                <a:gd name="T48" fmla="*/ 2147483646 w 12864"/>
                <a:gd name="T49" fmla="*/ 2147483646 h 10000"/>
                <a:gd name="T50" fmla="*/ 2147483646 w 12864"/>
                <a:gd name="T51" fmla="*/ 2147483646 h 10000"/>
                <a:gd name="T52" fmla="*/ 2147483646 w 12864"/>
                <a:gd name="T53" fmla="*/ 2147483646 h 10000"/>
                <a:gd name="T54" fmla="*/ 2147483646 w 12864"/>
                <a:gd name="T55" fmla="*/ 2147483646 h 10000"/>
                <a:gd name="T56" fmla="*/ 2147483646 w 12864"/>
                <a:gd name="T57" fmla="*/ 2147483646 h 10000"/>
                <a:gd name="T58" fmla="*/ 2147483646 w 12864"/>
                <a:gd name="T59" fmla="*/ 2147483646 h 10000"/>
                <a:gd name="T60" fmla="*/ 2147483646 w 12864"/>
                <a:gd name="T61" fmla="*/ 2147483646 h 10000"/>
                <a:gd name="T62" fmla="*/ 2147483646 w 12864"/>
                <a:gd name="T63" fmla="*/ 2147483646 h 10000"/>
                <a:gd name="T64" fmla="*/ 2147483646 w 12864"/>
                <a:gd name="T65" fmla="*/ 2147483646 h 10000"/>
                <a:gd name="T66" fmla="*/ 2147483646 w 12864"/>
                <a:gd name="T67" fmla="*/ 2147483646 h 10000"/>
                <a:gd name="T68" fmla="*/ 2147483646 w 12864"/>
                <a:gd name="T69" fmla="*/ 2147483646 h 10000"/>
                <a:gd name="T70" fmla="*/ 2147483646 w 12864"/>
                <a:gd name="T71" fmla="*/ 2147483646 h 10000"/>
                <a:gd name="T72" fmla="*/ 2147483646 w 12864"/>
                <a:gd name="T73" fmla="*/ 0 h 1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864" h="10000">
                  <a:moveTo>
                    <a:pt x="6669" y="0"/>
                  </a:moveTo>
                  <a:lnTo>
                    <a:pt x="5217" y="627"/>
                  </a:lnTo>
                  <a:lnTo>
                    <a:pt x="4509" y="795"/>
                  </a:lnTo>
                  <a:lnTo>
                    <a:pt x="4285" y="602"/>
                  </a:lnTo>
                  <a:lnTo>
                    <a:pt x="1850" y="1511"/>
                  </a:lnTo>
                  <a:lnTo>
                    <a:pt x="361" y="2700"/>
                  </a:lnTo>
                  <a:lnTo>
                    <a:pt x="0" y="3527"/>
                  </a:lnTo>
                  <a:lnTo>
                    <a:pt x="2466" y="5401"/>
                  </a:lnTo>
                  <a:lnTo>
                    <a:pt x="1912" y="6416"/>
                  </a:lnTo>
                  <a:cubicBezTo>
                    <a:pt x="2658" y="6304"/>
                    <a:pt x="4006" y="6725"/>
                    <a:pt x="4751" y="6612"/>
                  </a:cubicBezTo>
                  <a:lnTo>
                    <a:pt x="6380" y="6578"/>
                  </a:lnTo>
                  <a:lnTo>
                    <a:pt x="5473" y="5791"/>
                  </a:lnTo>
                  <a:lnTo>
                    <a:pt x="6072" y="6005"/>
                  </a:lnTo>
                  <a:lnTo>
                    <a:pt x="6683" y="7153"/>
                  </a:lnTo>
                  <a:lnTo>
                    <a:pt x="7388" y="8015"/>
                  </a:lnTo>
                  <a:cubicBezTo>
                    <a:pt x="7359" y="8285"/>
                    <a:pt x="7584" y="9729"/>
                    <a:pt x="7556" y="10000"/>
                  </a:cubicBezTo>
                  <a:lnTo>
                    <a:pt x="9007" y="8884"/>
                  </a:lnTo>
                  <a:lnTo>
                    <a:pt x="8378" y="6935"/>
                  </a:lnTo>
                  <a:lnTo>
                    <a:pt x="7353" y="6381"/>
                  </a:lnTo>
                  <a:lnTo>
                    <a:pt x="7865" y="5938"/>
                  </a:lnTo>
                  <a:cubicBezTo>
                    <a:pt x="7836" y="5815"/>
                    <a:pt x="7808" y="5693"/>
                    <a:pt x="7779" y="5570"/>
                  </a:cubicBezTo>
                  <a:lnTo>
                    <a:pt x="6413" y="4795"/>
                  </a:lnTo>
                  <a:lnTo>
                    <a:pt x="7096" y="4205"/>
                  </a:lnTo>
                  <a:lnTo>
                    <a:pt x="7916" y="4196"/>
                  </a:lnTo>
                  <a:lnTo>
                    <a:pt x="9685" y="3821"/>
                  </a:lnTo>
                  <a:cubicBezTo>
                    <a:pt x="9793" y="3687"/>
                    <a:pt x="10219" y="3634"/>
                    <a:pt x="10327" y="3500"/>
                  </a:cubicBezTo>
                  <a:lnTo>
                    <a:pt x="11115" y="3002"/>
                  </a:lnTo>
                  <a:cubicBezTo>
                    <a:pt x="11093" y="2923"/>
                    <a:pt x="12886" y="2990"/>
                    <a:pt x="12864" y="2911"/>
                  </a:cubicBezTo>
                  <a:lnTo>
                    <a:pt x="12264" y="2052"/>
                  </a:lnTo>
                  <a:cubicBezTo>
                    <a:pt x="12238" y="1992"/>
                    <a:pt x="11078" y="1787"/>
                    <a:pt x="11052" y="1727"/>
                  </a:cubicBezTo>
                  <a:cubicBezTo>
                    <a:pt x="11067" y="1385"/>
                    <a:pt x="9494" y="1967"/>
                    <a:pt x="9509" y="1625"/>
                  </a:cubicBezTo>
                  <a:lnTo>
                    <a:pt x="7778" y="1711"/>
                  </a:lnTo>
                  <a:lnTo>
                    <a:pt x="7430" y="1763"/>
                  </a:lnTo>
                  <a:lnTo>
                    <a:pt x="7096" y="1550"/>
                  </a:lnTo>
                  <a:lnTo>
                    <a:pt x="7865" y="1254"/>
                  </a:lnTo>
                  <a:lnTo>
                    <a:pt x="7865" y="480"/>
                  </a:lnTo>
                  <a:lnTo>
                    <a:pt x="666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4" name="Freeform 329"/>
            <p:cNvSpPr>
              <a:spLocks/>
            </p:cNvSpPr>
            <p:nvPr/>
          </p:nvSpPr>
          <p:spPr bwMode="auto">
            <a:xfrm>
              <a:off x="7009366" y="4158564"/>
              <a:ext cx="135937" cy="111431"/>
            </a:xfrm>
            <a:custGeom>
              <a:avLst/>
              <a:gdLst>
                <a:gd name="T0" fmla="*/ 2147483646 w 10000"/>
                <a:gd name="T1" fmla="*/ 2147483646 h 6448"/>
                <a:gd name="T2" fmla="*/ 2147483646 w 10000"/>
                <a:gd name="T3" fmla="*/ 2147483646 h 6448"/>
                <a:gd name="T4" fmla="*/ 2147483646 w 10000"/>
                <a:gd name="T5" fmla="*/ 0 h 6448"/>
                <a:gd name="T6" fmla="*/ 2147483646 w 10000"/>
                <a:gd name="T7" fmla="*/ 2147483646 h 6448"/>
                <a:gd name="T8" fmla="*/ 0 w 10000"/>
                <a:gd name="T9" fmla="*/ 2147483646 h 6448"/>
                <a:gd name="T10" fmla="*/ 0 w 10000"/>
                <a:gd name="T11" fmla="*/ 2147483646 h 6448"/>
                <a:gd name="T12" fmla="*/ 2147483646 w 10000"/>
                <a:gd name="T13" fmla="*/ 2147483646 h 6448"/>
                <a:gd name="T14" fmla="*/ 2147483646 w 10000"/>
                <a:gd name="T15" fmla="*/ 2147483646 h 6448"/>
                <a:gd name="T16" fmla="*/ 2147483646 w 10000"/>
                <a:gd name="T17" fmla="*/ 2147483646 h 6448"/>
                <a:gd name="T18" fmla="*/ 2147483646 w 10000"/>
                <a:gd name="T19" fmla="*/ 2147483646 h 6448"/>
                <a:gd name="T20" fmla="*/ 2147483646 w 10000"/>
                <a:gd name="T21" fmla="*/ 2147483646 h 6448"/>
                <a:gd name="T22" fmla="*/ 2147483646 w 10000"/>
                <a:gd name="T23" fmla="*/ 2147483646 h 6448"/>
                <a:gd name="T24" fmla="*/ 2147483646 w 10000"/>
                <a:gd name="T25" fmla="*/ 2147483646 h 6448"/>
                <a:gd name="T26" fmla="*/ 2147483646 w 10000"/>
                <a:gd name="T27" fmla="*/ 2147483646 h 64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000" h="6448">
                  <a:moveTo>
                    <a:pt x="8160" y="269"/>
                  </a:moveTo>
                  <a:cubicBezTo>
                    <a:pt x="7722" y="211"/>
                    <a:pt x="7792" y="194"/>
                    <a:pt x="7370" y="149"/>
                  </a:cubicBezTo>
                  <a:lnTo>
                    <a:pt x="5626" y="0"/>
                  </a:lnTo>
                  <a:lnTo>
                    <a:pt x="1875" y="496"/>
                  </a:lnTo>
                  <a:lnTo>
                    <a:pt x="0" y="1489"/>
                  </a:lnTo>
                  <a:lnTo>
                    <a:pt x="0" y="3473"/>
                  </a:lnTo>
                  <a:lnTo>
                    <a:pt x="3125" y="5951"/>
                  </a:lnTo>
                  <a:lnTo>
                    <a:pt x="4375" y="6448"/>
                  </a:lnTo>
                  <a:lnTo>
                    <a:pt x="5626" y="5951"/>
                  </a:lnTo>
                  <a:lnTo>
                    <a:pt x="6249" y="4959"/>
                  </a:lnTo>
                  <a:lnTo>
                    <a:pt x="8126" y="4466"/>
                  </a:lnTo>
                  <a:lnTo>
                    <a:pt x="10000" y="3473"/>
                  </a:lnTo>
                  <a:lnTo>
                    <a:pt x="10000" y="496"/>
                  </a:lnTo>
                  <a:lnTo>
                    <a:pt x="8160" y="26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4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5" name="Freeform 260"/>
            <p:cNvSpPr>
              <a:spLocks/>
            </p:cNvSpPr>
            <p:nvPr/>
          </p:nvSpPr>
          <p:spPr bwMode="auto">
            <a:xfrm>
              <a:off x="6481696" y="4315169"/>
              <a:ext cx="52621" cy="64751"/>
            </a:xfrm>
            <a:custGeom>
              <a:avLst/>
              <a:gdLst>
                <a:gd name="T0" fmla="*/ 2147483646 w 42"/>
                <a:gd name="T1" fmla="*/ 0 h 54"/>
                <a:gd name="T2" fmla="*/ 0 w 42"/>
                <a:gd name="T3" fmla="*/ 2147483646 h 54"/>
                <a:gd name="T4" fmla="*/ 2147483646 w 42"/>
                <a:gd name="T5" fmla="*/ 2147483646 h 54"/>
                <a:gd name="T6" fmla="*/ 2147483646 w 42"/>
                <a:gd name="T7" fmla="*/ 2147483646 h 54"/>
                <a:gd name="T8" fmla="*/ 2147483646 w 42"/>
                <a:gd name="T9" fmla="*/ 2147483646 h 54"/>
                <a:gd name="T10" fmla="*/ 2147483646 w 42"/>
                <a:gd name="T11" fmla="*/ 0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2" h="54">
                  <a:moveTo>
                    <a:pt x="6" y="0"/>
                  </a:moveTo>
                  <a:lnTo>
                    <a:pt x="0" y="24"/>
                  </a:lnTo>
                  <a:lnTo>
                    <a:pt x="6" y="54"/>
                  </a:lnTo>
                  <a:lnTo>
                    <a:pt x="30" y="54"/>
                  </a:lnTo>
                  <a:lnTo>
                    <a:pt x="42" y="3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cxnSp>
        <p:nvCxnSpPr>
          <p:cNvPr id="1005" name="Straight Connector 1004"/>
          <p:cNvCxnSpPr/>
          <p:nvPr/>
        </p:nvCxnSpPr>
        <p:spPr>
          <a:xfrm flipH="1">
            <a:off x="3659215" y="1774564"/>
            <a:ext cx="873413" cy="170004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6" name="Straight Connector 1005"/>
          <p:cNvCxnSpPr/>
          <p:nvPr/>
        </p:nvCxnSpPr>
        <p:spPr>
          <a:xfrm>
            <a:off x="2840879" y="1761830"/>
            <a:ext cx="517256" cy="10030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7" name="Straight Connector 1006"/>
          <p:cNvCxnSpPr/>
          <p:nvPr/>
        </p:nvCxnSpPr>
        <p:spPr>
          <a:xfrm>
            <a:off x="5804402" y="3006978"/>
            <a:ext cx="64465" cy="33615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8" name="Straight Connector 1007"/>
          <p:cNvCxnSpPr/>
          <p:nvPr/>
        </p:nvCxnSpPr>
        <p:spPr>
          <a:xfrm>
            <a:off x="7315040" y="3900928"/>
            <a:ext cx="13630" cy="144662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9" name="Straight Connector 1008"/>
          <p:cNvCxnSpPr/>
          <p:nvPr/>
        </p:nvCxnSpPr>
        <p:spPr>
          <a:xfrm>
            <a:off x="5890605" y="2576556"/>
            <a:ext cx="144739" cy="3935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0" name="Straight Connector 1009"/>
          <p:cNvCxnSpPr/>
          <p:nvPr/>
        </p:nvCxnSpPr>
        <p:spPr>
          <a:xfrm flipV="1">
            <a:off x="5802010" y="3393961"/>
            <a:ext cx="182023" cy="21422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1" name="Straight Connector 1010"/>
          <p:cNvCxnSpPr/>
          <p:nvPr/>
        </p:nvCxnSpPr>
        <p:spPr>
          <a:xfrm flipH="1">
            <a:off x="6869790" y="3160204"/>
            <a:ext cx="4960" cy="27344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2" name="Straight Connector 1011"/>
          <p:cNvCxnSpPr/>
          <p:nvPr/>
        </p:nvCxnSpPr>
        <p:spPr>
          <a:xfrm>
            <a:off x="6384433" y="3343091"/>
            <a:ext cx="218965" cy="47459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3" name="Straight Connector 1012"/>
          <p:cNvCxnSpPr/>
          <p:nvPr/>
        </p:nvCxnSpPr>
        <p:spPr>
          <a:xfrm>
            <a:off x="4511267" y="5299874"/>
            <a:ext cx="301290" cy="61404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4" name="Straight Connector 1013"/>
          <p:cNvCxnSpPr/>
          <p:nvPr/>
        </p:nvCxnSpPr>
        <p:spPr>
          <a:xfrm flipH="1">
            <a:off x="8473701" y="3295545"/>
            <a:ext cx="67245" cy="25989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5" name="Straight Connector 1014"/>
          <p:cNvCxnSpPr/>
          <p:nvPr/>
        </p:nvCxnSpPr>
        <p:spPr>
          <a:xfrm flipV="1">
            <a:off x="6313826" y="2505753"/>
            <a:ext cx="428084" cy="70219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6" name="Straight Connector 1015"/>
          <p:cNvCxnSpPr/>
          <p:nvPr/>
        </p:nvCxnSpPr>
        <p:spPr>
          <a:xfrm flipV="1">
            <a:off x="6463616" y="2718551"/>
            <a:ext cx="563054" cy="44767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7" name="Straight Connector 1016"/>
          <p:cNvCxnSpPr/>
          <p:nvPr/>
        </p:nvCxnSpPr>
        <p:spPr>
          <a:xfrm flipV="1">
            <a:off x="9283640" y="2500191"/>
            <a:ext cx="584036" cy="104384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8" name="Straight Connector 1017"/>
          <p:cNvCxnSpPr/>
          <p:nvPr/>
        </p:nvCxnSpPr>
        <p:spPr>
          <a:xfrm flipV="1">
            <a:off x="4266220" y="4837418"/>
            <a:ext cx="203467" cy="50302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9" name="Straight Connector 1018"/>
          <p:cNvCxnSpPr/>
          <p:nvPr/>
        </p:nvCxnSpPr>
        <p:spPr>
          <a:xfrm flipV="1">
            <a:off x="6900346" y="3593880"/>
            <a:ext cx="174128" cy="4877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0" name="Straight Connector 1019"/>
          <p:cNvCxnSpPr/>
          <p:nvPr/>
        </p:nvCxnSpPr>
        <p:spPr>
          <a:xfrm>
            <a:off x="2592001" y="3481784"/>
            <a:ext cx="1022594" cy="39963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1" name="Straight Connector 1020"/>
          <p:cNvCxnSpPr/>
          <p:nvPr/>
        </p:nvCxnSpPr>
        <p:spPr>
          <a:xfrm flipV="1">
            <a:off x="3745259" y="4689290"/>
            <a:ext cx="506367" cy="19625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2" name="Straight Connector 1021"/>
          <p:cNvCxnSpPr/>
          <p:nvPr/>
        </p:nvCxnSpPr>
        <p:spPr>
          <a:xfrm flipV="1">
            <a:off x="4216257" y="5477265"/>
            <a:ext cx="106072" cy="43116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3" name="Straight Connector 1022"/>
          <p:cNvCxnSpPr/>
          <p:nvPr/>
        </p:nvCxnSpPr>
        <p:spPr>
          <a:xfrm>
            <a:off x="4721469" y="4875289"/>
            <a:ext cx="79497" cy="20861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Straight Connector 1023"/>
          <p:cNvCxnSpPr/>
          <p:nvPr/>
        </p:nvCxnSpPr>
        <p:spPr>
          <a:xfrm flipV="1">
            <a:off x="4316584" y="4258017"/>
            <a:ext cx="533263" cy="13846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" name="Straight Connector 1024"/>
          <p:cNvCxnSpPr/>
          <p:nvPr/>
        </p:nvCxnSpPr>
        <p:spPr>
          <a:xfrm>
            <a:off x="3557062" y="4122937"/>
            <a:ext cx="378049" cy="3223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6" name="Straight Connector 1025"/>
          <p:cNvCxnSpPr/>
          <p:nvPr/>
        </p:nvCxnSpPr>
        <p:spPr>
          <a:xfrm flipH="1" flipV="1">
            <a:off x="7928483" y="3980371"/>
            <a:ext cx="179176" cy="48924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Straight Connector 1026"/>
          <p:cNvCxnSpPr/>
          <p:nvPr/>
        </p:nvCxnSpPr>
        <p:spPr>
          <a:xfrm>
            <a:off x="8872727" y="3882970"/>
            <a:ext cx="153878" cy="252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8" name="Straight Connector 1027"/>
          <p:cNvCxnSpPr/>
          <p:nvPr/>
        </p:nvCxnSpPr>
        <p:spPr>
          <a:xfrm>
            <a:off x="9288472" y="4490668"/>
            <a:ext cx="331031" cy="55813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29" name="Table 10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031470"/>
              </p:ext>
            </p:extLst>
          </p:nvPr>
        </p:nvGraphicFramePr>
        <p:xfrm>
          <a:off x="4113245" y="974187"/>
          <a:ext cx="1457960" cy="73296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30" name="Picture 1029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293" y="983732"/>
            <a:ext cx="162000" cy="162000"/>
          </a:xfrm>
          <a:prstGeom prst="rect">
            <a:avLst/>
          </a:prstGeom>
          <a:noFill/>
        </p:spPr>
      </p:pic>
      <p:pic>
        <p:nvPicPr>
          <p:cNvPr id="1031" name="Picture 1030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67" y="983732"/>
            <a:ext cx="162000" cy="162000"/>
          </a:xfrm>
          <a:prstGeom prst="rect">
            <a:avLst/>
          </a:prstGeom>
          <a:noFill/>
        </p:spPr>
      </p:pic>
      <p:pic>
        <p:nvPicPr>
          <p:cNvPr id="1032" name="Picture 1031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8275"/>
          <a:stretch/>
        </p:blipFill>
        <p:spPr>
          <a:xfrm rot="16200000">
            <a:off x="3856120" y="1242893"/>
            <a:ext cx="719853" cy="197295"/>
          </a:xfrm>
          <a:prstGeom prst="rect">
            <a:avLst/>
          </a:prstGeom>
          <a:noFill/>
        </p:spPr>
      </p:pic>
      <p:pic>
        <p:nvPicPr>
          <p:cNvPr id="1033" name="Picture 1032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2480" y="1346263"/>
            <a:ext cx="162000" cy="162000"/>
          </a:xfrm>
          <a:prstGeom prst="rect">
            <a:avLst/>
          </a:prstGeom>
          <a:noFill/>
        </p:spPr>
      </p:pic>
      <p:pic>
        <p:nvPicPr>
          <p:cNvPr id="1034" name="Picture 1033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993" y="1346263"/>
            <a:ext cx="162000" cy="162000"/>
          </a:xfrm>
          <a:prstGeom prst="rect">
            <a:avLst/>
          </a:prstGeom>
          <a:noFill/>
        </p:spPr>
      </p:pic>
      <p:sp>
        <p:nvSpPr>
          <p:cNvPr id="1035" name="Oval 1034"/>
          <p:cNvSpPr/>
          <p:nvPr/>
        </p:nvSpPr>
        <p:spPr>
          <a:xfrm>
            <a:off x="3628486" y="3469336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36" name="Oval 1035"/>
          <p:cNvSpPr/>
          <p:nvPr/>
        </p:nvSpPr>
        <p:spPr>
          <a:xfrm>
            <a:off x="4514627" y="173856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37" name="Table 10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962366"/>
              </p:ext>
            </p:extLst>
          </p:nvPr>
        </p:nvGraphicFramePr>
        <p:xfrm>
          <a:off x="2382560" y="967848"/>
          <a:ext cx="1457960" cy="73296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38" name="Picture 103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4608" y="972630"/>
            <a:ext cx="162000" cy="162000"/>
          </a:xfrm>
          <a:prstGeom prst="rect">
            <a:avLst/>
          </a:prstGeom>
          <a:noFill/>
        </p:spPr>
      </p:pic>
      <p:pic>
        <p:nvPicPr>
          <p:cNvPr id="1039" name="Picture 103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2270" y="972630"/>
            <a:ext cx="162000" cy="162000"/>
          </a:xfrm>
          <a:prstGeom prst="rect">
            <a:avLst/>
          </a:prstGeom>
          <a:noFill/>
        </p:spPr>
      </p:pic>
      <p:pic>
        <p:nvPicPr>
          <p:cNvPr id="1040" name="Picture 103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1795" y="1343168"/>
            <a:ext cx="162000" cy="162000"/>
          </a:xfrm>
          <a:prstGeom prst="rect">
            <a:avLst/>
          </a:prstGeom>
          <a:noFill/>
        </p:spPr>
      </p:pic>
      <p:pic>
        <p:nvPicPr>
          <p:cNvPr id="1041" name="Picture 104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308" y="1343168"/>
            <a:ext cx="162000" cy="162000"/>
          </a:xfrm>
          <a:prstGeom prst="rect">
            <a:avLst/>
          </a:prstGeom>
          <a:noFill/>
        </p:spPr>
      </p:pic>
      <p:sp>
        <p:nvSpPr>
          <p:cNvPr id="1042" name="Oval 1041"/>
          <p:cNvSpPr/>
          <p:nvPr/>
        </p:nvSpPr>
        <p:spPr>
          <a:xfrm>
            <a:off x="2810151" y="173110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043" name="Picture 1042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5" b="16794"/>
          <a:stretch/>
        </p:blipFill>
        <p:spPr>
          <a:xfrm rot="16200000">
            <a:off x="2127692" y="1235659"/>
            <a:ext cx="719610" cy="197082"/>
          </a:xfrm>
          <a:prstGeom prst="rect">
            <a:avLst/>
          </a:prstGeom>
          <a:noFill/>
        </p:spPr>
      </p:pic>
      <p:graphicFrame>
        <p:nvGraphicFramePr>
          <p:cNvPr id="1044" name="Table 10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1076149"/>
              </p:ext>
            </p:extLst>
          </p:nvPr>
        </p:nvGraphicFramePr>
        <p:xfrm>
          <a:off x="8718903" y="4910427"/>
          <a:ext cx="833120" cy="36720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FE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45" name="Picture 104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138" y="4921161"/>
            <a:ext cx="162000" cy="162000"/>
          </a:xfrm>
          <a:prstGeom prst="rect">
            <a:avLst/>
          </a:prstGeom>
          <a:noFill/>
        </p:spPr>
      </p:pic>
      <p:pic>
        <p:nvPicPr>
          <p:cNvPr id="1046" name="Picture 104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7651" y="4921161"/>
            <a:ext cx="162000" cy="162000"/>
          </a:xfrm>
          <a:prstGeom prst="rect">
            <a:avLst/>
          </a:prstGeom>
          <a:noFill/>
        </p:spPr>
      </p:pic>
      <p:pic>
        <p:nvPicPr>
          <p:cNvPr id="1047" name="Picture 1046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5686"/>
          <a:stretch/>
        </p:blipFill>
        <p:spPr>
          <a:xfrm rot="16200000">
            <a:off x="8647525" y="4995297"/>
            <a:ext cx="354376" cy="194578"/>
          </a:xfrm>
          <a:prstGeom prst="rect">
            <a:avLst/>
          </a:prstGeom>
          <a:noFill/>
        </p:spPr>
      </p:pic>
      <p:graphicFrame>
        <p:nvGraphicFramePr>
          <p:cNvPr id="1048" name="Table 10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65592"/>
              </p:ext>
            </p:extLst>
          </p:nvPr>
        </p:nvGraphicFramePr>
        <p:xfrm>
          <a:off x="4911294" y="3907716"/>
          <a:ext cx="83312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FE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49" name="Picture 1048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342" y="3916272"/>
            <a:ext cx="162000" cy="162000"/>
          </a:xfrm>
          <a:prstGeom prst="rect">
            <a:avLst/>
          </a:prstGeom>
          <a:noFill/>
        </p:spPr>
      </p:pic>
      <p:pic>
        <p:nvPicPr>
          <p:cNvPr id="1050" name="Picture 104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1004" y="3916272"/>
            <a:ext cx="162000" cy="162000"/>
          </a:xfrm>
          <a:prstGeom prst="rect">
            <a:avLst/>
          </a:prstGeom>
          <a:noFill/>
        </p:spPr>
      </p:pic>
      <p:pic>
        <p:nvPicPr>
          <p:cNvPr id="1051" name="Picture 1050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529" y="4282985"/>
            <a:ext cx="162000" cy="162000"/>
          </a:xfrm>
          <a:prstGeom prst="rect">
            <a:avLst/>
          </a:prstGeom>
          <a:noFill/>
        </p:spPr>
      </p:pic>
      <p:pic>
        <p:nvPicPr>
          <p:cNvPr id="1052" name="Picture 1051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042" y="4282985"/>
            <a:ext cx="162000" cy="162000"/>
          </a:xfrm>
          <a:prstGeom prst="rect">
            <a:avLst/>
          </a:prstGeom>
          <a:noFill/>
        </p:spPr>
      </p:pic>
      <p:pic>
        <p:nvPicPr>
          <p:cNvPr id="1053" name="Picture 1052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59"/>
          <a:stretch/>
        </p:blipFill>
        <p:spPr>
          <a:xfrm rot="16200000">
            <a:off x="4655009" y="4174874"/>
            <a:ext cx="721238" cy="198037"/>
          </a:xfrm>
          <a:prstGeom prst="rect">
            <a:avLst/>
          </a:prstGeom>
          <a:noFill/>
        </p:spPr>
      </p:pic>
      <p:sp>
        <p:nvSpPr>
          <p:cNvPr id="1054" name="Oval 1053"/>
          <p:cNvSpPr/>
          <p:nvPr/>
        </p:nvSpPr>
        <p:spPr>
          <a:xfrm>
            <a:off x="5045017" y="4806611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55" name="Table 10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8406"/>
              </p:ext>
            </p:extLst>
          </p:nvPr>
        </p:nvGraphicFramePr>
        <p:xfrm>
          <a:off x="4913531" y="2612312"/>
          <a:ext cx="83312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56" name="Picture 105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579" y="2617094"/>
            <a:ext cx="162000" cy="162000"/>
          </a:xfrm>
          <a:prstGeom prst="rect">
            <a:avLst/>
          </a:prstGeom>
          <a:noFill/>
        </p:spPr>
      </p:pic>
      <p:pic>
        <p:nvPicPr>
          <p:cNvPr id="1057" name="Picture 1056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241" y="2617094"/>
            <a:ext cx="162000" cy="162000"/>
          </a:xfrm>
          <a:prstGeom prst="rect">
            <a:avLst/>
          </a:prstGeom>
          <a:noFill/>
        </p:spPr>
      </p:pic>
      <p:pic>
        <p:nvPicPr>
          <p:cNvPr id="1058" name="Picture 1057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766" y="2985860"/>
            <a:ext cx="162000" cy="162000"/>
          </a:xfrm>
          <a:prstGeom prst="rect">
            <a:avLst/>
          </a:prstGeom>
          <a:noFill/>
        </p:spPr>
      </p:pic>
      <p:pic>
        <p:nvPicPr>
          <p:cNvPr id="1059" name="Picture 1058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79" y="2985860"/>
            <a:ext cx="162000" cy="162000"/>
          </a:xfrm>
          <a:prstGeom prst="rect">
            <a:avLst/>
          </a:prstGeom>
          <a:noFill/>
        </p:spPr>
      </p:pic>
      <p:sp>
        <p:nvSpPr>
          <p:cNvPr id="1060" name="Oval 1059"/>
          <p:cNvSpPr/>
          <p:nvPr/>
        </p:nvSpPr>
        <p:spPr>
          <a:xfrm>
            <a:off x="5773673" y="297625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061" name="Picture 1060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55" b="23616"/>
          <a:stretch/>
        </p:blipFill>
        <p:spPr>
          <a:xfrm rot="16200000">
            <a:off x="4656734" y="2881132"/>
            <a:ext cx="722683" cy="194410"/>
          </a:xfrm>
          <a:prstGeom prst="rect">
            <a:avLst/>
          </a:prstGeom>
          <a:noFill/>
        </p:spPr>
      </p:pic>
      <p:sp>
        <p:nvSpPr>
          <p:cNvPr id="1062" name="Oval 1061"/>
          <p:cNvSpPr/>
          <p:nvPr/>
        </p:nvSpPr>
        <p:spPr>
          <a:xfrm>
            <a:off x="5863594" y="333786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63" name="Table 10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2392"/>
              </p:ext>
            </p:extLst>
          </p:nvPr>
        </p:nvGraphicFramePr>
        <p:xfrm>
          <a:off x="6816080" y="5410417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D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64" name="Picture 1063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891" y="5419863"/>
            <a:ext cx="162000" cy="162000"/>
          </a:xfrm>
          <a:prstGeom prst="rect">
            <a:avLst/>
          </a:prstGeom>
          <a:noFill/>
        </p:spPr>
      </p:pic>
      <p:pic>
        <p:nvPicPr>
          <p:cNvPr id="1065" name="Picture 106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790" y="5419863"/>
            <a:ext cx="162000" cy="162000"/>
          </a:xfrm>
          <a:prstGeom prst="rect">
            <a:avLst/>
          </a:prstGeom>
          <a:noFill/>
        </p:spPr>
      </p:pic>
      <p:sp>
        <p:nvSpPr>
          <p:cNvPr id="1066" name="Oval 1065"/>
          <p:cNvSpPr/>
          <p:nvPr/>
        </p:nvSpPr>
        <p:spPr>
          <a:xfrm>
            <a:off x="7310670" y="534755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067" name="Picture 1066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67" b="9156"/>
          <a:stretch/>
        </p:blipFill>
        <p:spPr>
          <a:xfrm rot="16200000">
            <a:off x="6741909" y="5496037"/>
            <a:ext cx="358256" cy="194094"/>
          </a:xfrm>
          <a:prstGeom prst="rect">
            <a:avLst/>
          </a:prstGeom>
          <a:noFill/>
        </p:spPr>
      </p:pic>
      <p:sp>
        <p:nvSpPr>
          <p:cNvPr id="1068" name="Oval 1067"/>
          <p:cNvSpPr/>
          <p:nvPr/>
        </p:nvSpPr>
        <p:spPr>
          <a:xfrm>
            <a:off x="7297040" y="3864928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69" name="Table 10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155137"/>
              </p:ext>
            </p:extLst>
          </p:nvPr>
        </p:nvGraphicFramePr>
        <p:xfrm>
          <a:off x="5419916" y="2137534"/>
          <a:ext cx="833120" cy="36720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70" name="Picture 1069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1964" y="2142316"/>
            <a:ext cx="162000" cy="162000"/>
          </a:xfrm>
          <a:prstGeom prst="rect">
            <a:avLst/>
          </a:prstGeom>
          <a:noFill/>
        </p:spPr>
      </p:pic>
      <p:pic>
        <p:nvPicPr>
          <p:cNvPr id="1071" name="Picture 1070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626" y="2142316"/>
            <a:ext cx="162000" cy="162000"/>
          </a:xfrm>
          <a:prstGeom prst="rect">
            <a:avLst/>
          </a:prstGeom>
          <a:noFill/>
        </p:spPr>
      </p:pic>
      <p:sp>
        <p:nvSpPr>
          <p:cNvPr id="1072" name="Oval 1071"/>
          <p:cNvSpPr/>
          <p:nvPr/>
        </p:nvSpPr>
        <p:spPr>
          <a:xfrm>
            <a:off x="5859876" y="2545828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073" name="Picture 1072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1" t="11948" r="5715" b="9008"/>
          <a:stretch/>
        </p:blipFill>
        <p:spPr>
          <a:xfrm rot="16200000">
            <a:off x="5347486" y="2224121"/>
            <a:ext cx="355968" cy="194510"/>
          </a:xfrm>
          <a:prstGeom prst="rect">
            <a:avLst/>
          </a:prstGeom>
          <a:noFill/>
        </p:spPr>
      </p:pic>
      <p:sp>
        <p:nvSpPr>
          <p:cNvPr id="1074" name="Oval 1073"/>
          <p:cNvSpPr/>
          <p:nvPr/>
        </p:nvSpPr>
        <p:spPr>
          <a:xfrm>
            <a:off x="6017343" y="297014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75" name="Table 10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167641"/>
              </p:ext>
            </p:extLst>
          </p:nvPr>
        </p:nvGraphicFramePr>
        <p:xfrm>
          <a:off x="4909576" y="3429167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76" name="Picture 107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624" y="3440023"/>
            <a:ext cx="162000" cy="162000"/>
          </a:xfrm>
          <a:prstGeom prst="rect">
            <a:avLst/>
          </a:prstGeom>
          <a:noFill/>
        </p:spPr>
      </p:pic>
      <p:pic>
        <p:nvPicPr>
          <p:cNvPr id="1077" name="Picture 1076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286" y="3440023"/>
            <a:ext cx="162000" cy="162000"/>
          </a:xfrm>
          <a:prstGeom prst="rect">
            <a:avLst/>
          </a:prstGeom>
          <a:noFill/>
        </p:spPr>
      </p:pic>
      <p:sp>
        <p:nvSpPr>
          <p:cNvPr id="1078" name="Oval 1077"/>
          <p:cNvSpPr/>
          <p:nvPr/>
        </p:nvSpPr>
        <p:spPr>
          <a:xfrm>
            <a:off x="5771281" y="3602915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079" name="Picture 1078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02" b="13999"/>
          <a:stretch/>
        </p:blipFill>
        <p:spPr>
          <a:xfrm rot="16200000">
            <a:off x="4806623" y="3514121"/>
            <a:ext cx="411119" cy="196004"/>
          </a:xfrm>
          <a:prstGeom prst="rect">
            <a:avLst/>
          </a:prstGeom>
          <a:noFill/>
        </p:spPr>
      </p:pic>
      <p:sp>
        <p:nvSpPr>
          <p:cNvPr id="1080" name="Oval 1079"/>
          <p:cNvSpPr/>
          <p:nvPr/>
        </p:nvSpPr>
        <p:spPr>
          <a:xfrm>
            <a:off x="5978760" y="336323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81" name="Oval 1080"/>
          <p:cNvSpPr/>
          <p:nvPr/>
        </p:nvSpPr>
        <p:spPr>
          <a:xfrm>
            <a:off x="3352863" y="275965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82" name="Table 10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975678"/>
              </p:ext>
            </p:extLst>
          </p:nvPr>
        </p:nvGraphicFramePr>
        <p:xfrm>
          <a:off x="6928947" y="2937505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83" name="Picture 108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995" y="2947050"/>
            <a:ext cx="162000" cy="162000"/>
          </a:xfrm>
          <a:prstGeom prst="rect">
            <a:avLst/>
          </a:prstGeom>
          <a:noFill/>
        </p:spPr>
      </p:pic>
      <p:pic>
        <p:nvPicPr>
          <p:cNvPr id="1084" name="Picture 1083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657" y="2947050"/>
            <a:ext cx="162000" cy="162000"/>
          </a:xfrm>
          <a:prstGeom prst="rect">
            <a:avLst/>
          </a:prstGeom>
          <a:noFill/>
        </p:spPr>
      </p:pic>
      <p:pic>
        <p:nvPicPr>
          <p:cNvPr id="1085" name="Picture 1084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2" t="15730" r="10146" b="16507"/>
          <a:stretch/>
        </p:blipFill>
        <p:spPr>
          <a:xfrm rot="16200000">
            <a:off x="6857411" y="3022007"/>
            <a:ext cx="351832" cy="195455"/>
          </a:xfrm>
          <a:prstGeom prst="rect">
            <a:avLst/>
          </a:prstGeom>
          <a:noFill/>
        </p:spPr>
      </p:pic>
      <p:sp>
        <p:nvSpPr>
          <p:cNvPr id="1086" name="Oval 1085"/>
          <p:cNvSpPr/>
          <p:nvPr/>
        </p:nvSpPr>
        <p:spPr>
          <a:xfrm>
            <a:off x="6856750" y="3124203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87" name="Oval 1086"/>
          <p:cNvSpPr/>
          <p:nvPr/>
        </p:nvSpPr>
        <p:spPr>
          <a:xfrm>
            <a:off x="6851790" y="343365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88" name="Oval 1087"/>
          <p:cNvSpPr/>
          <p:nvPr/>
        </p:nvSpPr>
        <p:spPr>
          <a:xfrm>
            <a:off x="6583747" y="382001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89" name="Oval 1088"/>
          <p:cNvSpPr/>
          <p:nvPr/>
        </p:nvSpPr>
        <p:spPr>
          <a:xfrm>
            <a:off x="6362801" y="3312363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90" name="Oval 1089"/>
          <p:cNvSpPr/>
          <p:nvPr/>
        </p:nvSpPr>
        <p:spPr>
          <a:xfrm>
            <a:off x="4807285" y="590864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091" name="Oval 1090"/>
          <p:cNvSpPr/>
          <p:nvPr/>
        </p:nvSpPr>
        <p:spPr>
          <a:xfrm>
            <a:off x="4475267" y="528187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092" name="Table 10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254665"/>
              </p:ext>
            </p:extLst>
          </p:nvPr>
        </p:nvGraphicFramePr>
        <p:xfrm>
          <a:off x="7980550" y="2493861"/>
          <a:ext cx="1457960" cy="73440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93" name="Picture 109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2598" y="2505265"/>
            <a:ext cx="162000" cy="162000"/>
          </a:xfrm>
          <a:prstGeom prst="rect">
            <a:avLst/>
          </a:prstGeom>
          <a:noFill/>
        </p:spPr>
      </p:pic>
      <p:pic>
        <p:nvPicPr>
          <p:cNvPr id="1094" name="Picture 1093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260" y="2505265"/>
            <a:ext cx="162000" cy="162000"/>
          </a:xfrm>
          <a:prstGeom prst="rect">
            <a:avLst/>
          </a:prstGeom>
          <a:noFill/>
        </p:spPr>
      </p:pic>
      <p:pic>
        <p:nvPicPr>
          <p:cNvPr id="1095" name="Picture 109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785" y="2867215"/>
            <a:ext cx="162000" cy="162000"/>
          </a:xfrm>
          <a:prstGeom prst="rect">
            <a:avLst/>
          </a:prstGeom>
          <a:noFill/>
        </p:spPr>
      </p:pic>
      <p:pic>
        <p:nvPicPr>
          <p:cNvPr id="1096" name="Picture 109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298" y="2867215"/>
            <a:ext cx="162000" cy="162000"/>
          </a:xfrm>
          <a:prstGeom prst="rect">
            <a:avLst/>
          </a:prstGeom>
          <a:noFill/>
        </p:spPr>
      </p:pic>
      <p:sp>
        <p:nvSpPr>
          <p:cNvPr id="1097" name="Oval 1096"/>
          <p:cNvSpPr/>
          <p:nvPr/>
        </p:nvSpPr>
        <p:spPr>
          <a:xfrm>
            <a:off x="8522945" y="325954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098" name="Picture 1097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0" b="50810"/>
          <a:stretch/>
        </p:blipFill>
        <p:spPr>
          <a:xfrm rot="16200000">
            <a:off x="7724843" y="2764420"/>
            <a:ext cx="721019" cy="192234"/>
          </a:xfrm>
          <a:prstGeom prst="rect">
            <a:avLst/>
          </a:prstGeom>
          <a:noFill/>
        </p:spPr>
      </p:pic>
      <p:sp>
        <p:nvSpPr>
          <p:cNvPr id="1099" name="Oval 1098"/>
          <p:cNvSpPr/>
          <p:nvPr/>
        </p:nvSpPr>
        <p:spPr>
          <a:xfrm>
            <a:off x="8450591" y="3550169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00" name="Table 10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560355"/>
              </p:ext>
            </p:extLst>
          </p:nvPr>
        </p:nvGraphicFramePr>
        <p:xfrm>
          <a:off x="6351077" y="1705921"/>
          <a:ext cx="833120" cy="73440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01" name="Picture 110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3125" y="1709695"/>
            <a:ext cx="162000" cy="162000"/>
          </a:xfrm>
          <a:prstGeom prst="rect">
            <a:avLst/>
          </a:prstGeom>
          <a:noFill/>
        </p:spPr>
      </p:pic>
      <p:pic>
        <p:nvPicPr>
          <p:cNvPr id="1102" name="Picture 110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787" y="1709695"/>
            <a:ext cx="162000" cy="162000"/>
          </a:xfrm>
          <a:prstGeom prst="rect">
            <a:avLst/>
          </a:prstGeom>
          <a:noFill/>
        </p:spPr>
      </p:pic>
      <p:pic>
        <p:nvPicPr>
          <p:cNvPr id="1103" name="Picture 1102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312" y="2081170"/>
            <a:ext cx="162000" cy="162000"/>
          </a:xfrm>
          <a:prstGeom prst="rect">
            <a:avLst/>
          </a:prstGeom>
          <a:noFill/>
        </p:spPr>
      </p:pic>
      <p:pic>
        <p:nvPicPr>
          <p:cNvPr id="1104" name="Picture 1103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25" y="2081170"/>
            <a:ext cx="162000" cy="162000"/>
          </a:xfrm>
          <a:prstGeom prst="rect">
            <a:avLst/>
          </a:prstGeom>
          <a:noFill/>
        </p:spPr>
      </p:pic>
      <p:sp>
        <p:nvSpPr>
          <p:cNvPr id="1105" name="Oval 1104"/>
          <p:cNvSpPr/>
          <p:nvPr/>
        </p:nvSpPr>
        <p:spPr>
          <a:xfrm>
            <a:off x="6736638" y="2475025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06" name="Oval 1105"/>
          <p:cNvSpPr/>
          <p:nvPr/>
        </p:nvSpPr>
        <p:spPr>
          <a:xfrm>
            <a:off x="6283098" y="3202673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07" name="Table 1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17253"/>
              </p:ext>
            </p:extLst>
          </p:nvPr>
        </p:nvGraphicFramePr>
        <p:xfrm>
          <a:off x="7104112" y="2496159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08" name="Picture 110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2505704"/>
            <a:ext cx="162000" cy="162000"/>
          </a:xfrm>
          <a:prstGeom prst="rect">
            <a:avLst/>
          </a:prstGeom>
          <a:noFill/>
        </p:spPr>
      </p:pic>
      <p:pic>
        <p:nvPicPr>
          <p:cNvPr id="1109" name="Picture 110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822" y="2505704"/>
            <a:ext cx="162000" cy="162000"/>
          </a:xfrm>
          <a:prstGeom prst="rect">
            <a:avLst/>
          </a:prstGeom>
          <a:noFill/>
        </p:spPr>
      </p:pic>
      <p:sp>
        <p:nvSpPr>
          <p:cNvPr id="1110" name="Oval 1109"/>
          <p:cNvSpPr/>
          <p:nvPr/>
        </p:nvSpPr>
        <p:spPr>
          <a:xfrm>
            <a:off x="7164387" y="2682857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11" name="Picture 1110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" t="2568" r="1474" b="1712"/>
          <a:stretch/>
        </p:blipFill>
        <p:spPr>
          <a:xfrm rot="16200000">
            <a:off x="7029580" y="2579634"/>
            <a:ext cx="356019" cy="199714"/>
          </a:xfrm>
          <a:prstGeom prst="rect">
            <a:avLst/>
          </a:prstGeom>
          <a:noFill/>
        </p:spPr>
      </p:pic>
      <p:sp>
        <p:nvSpPr>
          <p:cNvPr id="1112" name="Oval 1111"/>
          <p:cNvSpPr/>
          <p:nvPr/>
        </p:nvSpPr>
        <p:spPr>
          <a:xfrm>
            <a:off x="6424763" y="3169205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13" name="Table 1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545895"/>
              </p:ext>
            </p:extLst>
          </p:nvPr>
        </p:nvGraphicFramePr>
        <p:xfrm>
          <a:off x="9059028" y="1700808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D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14" name="Picture 1113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076" y="1712591"/>
            <a:ext cx="162000" cy="162000"/>
          </a:xfrm>
          <a:prstGeom prst="rect">
            <a:avLst/>
          </a:prstGeom>
          <a:noFill/>
        </p:spPr>
      </p:pic>
      <p:pic>
        <p:nvPicPr>
          <p:cNvPr id="1115" name="Picture 111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8738" y="1712591"/>
            <a:ext cx="162000" cy="162000"/>
          </a:xfrm>
          <a:prstGeom prst="rect">
            <a:avLst/>
          </a:prstGeom>
          <a:noFill/>
        </p:spPr>
      </p:pic>
      <p:pic>
        <p:nvPicPr>
          <p:cNvPr id="1116" name="Picture 1115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263" y="2076566"/>
            <a:ext cx="162000" cy="162000"/>
          </a:xfrm>
          <a:prstGeom prst="rect">
            <a:avLst/>
          </a:prstGeom>
          <a:noFill/>
        </p:spPr>
      </p:pic>
      <p:pic>
        <p:nvPicPr>
          <p:cNvPr id="1117" name="Picture 1116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776" y="2076566"/>
            <a:ext cx="162000" cy="162000"/>
          </a:xfrm>
          <a:prstGeom prst="rect">
            <a:avLst/>
          </a:prstGeom>
          <a:noFill/>
        </p:spPr>
      </p:pic>
      <p:pic>
        <p:nvPicPr>
          <p:cNvPr id="1118" name="Picture 1117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8978" y="1712591"/>
            <a:ext cx="162000" cy="162000"/>
          </a:xfrm>
          <a:prstGeom prst="rect">
            <a:avLst/>
          </a:prstGeom>
          <a:noFill/>
        </p:spPr>
      </p:pic>
      <p:pic>
        <p:nvPicPr>
          <p:cNvPr id="1119" name="Picture 1118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128" y="1712591"/>
            <a:ext cx="162000" cy="162000"/>
          </a:xfrm>
          <a:prstGeom prst="rect">
            <a:avLst/>
          </a:prstGeom>
          <a:noFill/>
        </p:spPr>
      </p:pic>
      <p:pic>
        <p:nvPicPr>
          <p:cNvPr id="1120" name="Picture 111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910" y="2076566"/>
            <a:ext cx="162000" cy="162000"/>
          </a:xfrm>
          <a:prstGeom prst="rect">
            <a:avLst/>
          </a:prstGeom>
          <a:noFill/>
        </p:spPr>
      </p:pic>
      <p:pic>
        <p:nvPicPr>
          <p:cNvPr id="1121" name="Picture 112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8060" y="2076566"/>
            <a:ext cx="162000" cy="162000"/>
          </a:xfrm>
          <a:prstGeom prst="rect">
            <a:avLst/>
          </a:prstGeom>
          <a:noFill/>
        </p:spPr>
      </p:pic>
      <p:pic>
        <p:nvPicPr>
          <p:cNvPr id="1122" name="Picture 1121"/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47" b="11158"/>
          <a:stretch/>
        </p:blipFill>
        <p:spPr>
          <a:xfrm rot="16200000">
            <a:off x="8973530" y="1978571"/>
            <a:ext cx="381503" cy="193206"/>
          </a:xfrm>
          <a:prstGeom prst="rect">
            <a:avLst/>
          </a:prstGeom>
          <a:noFill/>
        </p:spPr>
      </p:pic>
      <p:sp>
        <p:nvSpPr>
          <p:cNvPr id="1123" name="Oval 1122"/>
          <p:cNvSpPr/>
          <p:nvPr/>
        </p:nvSpPr>
        <p:spPr>
          <a:xfrm>
            <a:off x="9862404" y="246946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24" name="Oval 1123"/>
          <p:cNvSpPr/>
          <p:nvPr/>
        </p:nvSpPr>
        <p:spPr>
          <a:xfrm>
            <a:off x="9247640" y="3526039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25" name="Table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8334245"/>
              </p:ext>
            </p:extLst>
          </p:nvPr>
        </p:nvGraphicFramePr>
        <p:xfrm>
          <a:off x="3338818" y="5230702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26" name="Picture 112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866" y="5240247"/>
            <a:ext cx="162000" cy="162000"/>
          </a:xfrm>
          <a:prstGeom prst="rect">
            <a:avLst/>
          </a:prstGeom>
          <a:noFill/>
        </p:spPr>
      </p:pic>
      <p:pic>
        <p:nvPicPr>
          <p:cNvPr id="1127" name="Picture 1126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528" y="5240247"/>
            <a:ext cx="162000" cy="162000"/>
          </a:xfrm>
          <a:prstGeom prst="rect">
            <a:avLst/>
          </a:prstGeom>
          <a:noFill/>
        </p:spPr>
      </p:pic>
      <p:sp>
        <p:nvSpPr>
          <p:cNvPr id="1128" name="Oval 1127"/>
          <p:cNvSpPr/>
          <p:nvPr/>
        </p:nvSpPr>
        <p:spPr>
          <a:xfrm>
            <a:off x="4230219" y="532244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29" name="Picture 112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262072" y="5313813"/>
            <a:ext cx="360618" cy="199071"/>
          </a:xfrm>
          <a:prstGeom prst="rect">
            <a:avLst/>
          </a:prstGeom>
          <a:noFill/>
        </p:spPr>
      </p:pic>
      <p:sp>
        <p:nvSpPr>
          <p:cNvPr id="1130" name="Oval 1129"/>
          <p:cNvSpPr/>
          <p:nvPr/>
        </p:nvSpPr>
        <p:spPr>
          <a:xfrm>
            <a:off x="4469686" y="4819417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31" name="Table 11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904247"/>
              </p:ext>
            </p:extLst>
          </p:nvPr>
        </p:nvGraphicFramePr>
        <p:xfrm>
          <a:off x="7098155" y="3378996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32" name="Picture 1131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0203" y="3388541"/>
            <a:ext cx="162000" cy="162000"/>
          </a:xfrm>
          <a:prstGeom prst="rect">
            <a:avLst/>
          </a:prstGeom>
          <a:noFill/>
        </p:spPr>
      </p:pic>
      <p:pic>
        <p:nvPicPr>
          <p:cNvPr id="1133" name="Picture 1132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865" y="3388541"/>
            <a:ext cx="162000" cy="162000"/>
          </a:xfrm>
          <a:prstGeom prst="rect">
            <a:avLst/>
          </a:prstGeom>
          <a:noFill/>
        </p:spPr>
      </p:pic>
      <p:sp>
        <p:nvSpPr>
          <p:cNvPr id="1134" name="Oval 1133"/>
          <p:cNvSpPr/>
          <p:nvPr/>
        </p:nvSpPr>
        <p:spPr>
          <a:xfrm>
            <a:off x="7038474" y="357588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35" name="Picture 1134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024756" y="3467225"/>
            <a:ext cx="350796" cy="189974"/>
          </a:xfrm>
          <a:prstGeom prst="rect">
            <a:avLst/>
          </a:prstGeom>
          <a:noFill/>
        </p:spPr>
      </p:pic>
      <p:sp>
        <p:nvSpPr>
          <p:cNvPr id="1136" name="Oval 1135"/>
          <p:cNvSpPr/>
          <p:nvPr/>
        </p:nvSpPr>
        <p:spPr>
          <a:xfrm>
            <a:off x="6869618" y="363738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37" name="Table 11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296766"/>
              </p:ext>
            </p:extLst>
          </p:nvPr>
        </p:nvGraphicFramePr>
        <p:xfrm>
          <a:off x="1693316" y="3050859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D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38" name="Picture 113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5364" y="3062431"/>
            <a:ext cx="162000" cy="162000"/>
          </a:xfrm>
          <a:prstGeom prst="rect">
            <a:avLst/>
          </a:prstGeom>
          <a:noFill/>
        </p:spPr>
      </p:pic>
      <p:pic>
        <p:nvPicPr>
          <p:cNvPr id="1139" name="Picture 113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474" y="3062431"/>
            <a:ext cx="162000" cy="162000"/>
          </a:xfrm>
          <a:prstGeom prst="rect">
            <a:avLst/>
          </a:prstGeom>
          <a:noFill/>
        </p:spPr>
      </p:pic>
      <p:pic>
        <p:nvPicPr>
          <p:cNvPr id="1140" name="Picture 113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551" y="3424381"/>
            <a:ext cx="162000" cy="162000"/>
          </a:xfrm>
          <a:prstGeom prst="rect">
            <a:avLst/>
          </a:prstGeom>
          <a:noFill/>
        </p:spPr>
      </p:pic>
      <p:pic>
        <p:nvPicPr>
          <p:cNvPr id="1141" name="Picture 114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2064" y="3424381"/>
            <a:ext cx="162000" cy="162000"/>
          </a:xfrm>
          <a:prstGeom prst="rect">
            <a:avLst/>
          </a:prstGeom>
          <a:noFill/>
        </p:spPr>
      </p:pic>
      <p:pic>
        <p:nvPicPr>
          <p:cNvPr id="1142" name="Picture 114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239" y="3062431"/>
            <a:ext cx="162000" cy="162000"/>
          </a:xfrm>
          <a:prstGeom prst="rect">
            <a:avLst/>
          </a:prstGeom>
          <a:noFill/>
        </p:spPr>
      </p:pic>
      <p:pic>
        <p:nvPicPr>
          <p:cNvPr id="1143" name="Picture 114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416" y="3062431"/>
            <a:ext cx="162000" cy="162000"/>
          </a:xfrm>
          <a:prstGeom prst="rect">
            <a:avLst/>
          </a:prstGeom>
          <a:noFill/>
        </p:spPr>
      </p:pic>
      <p:sp>
        <p:nvSpPr>
          <p:cNvPr id="1144" name="Oval 1143"/>
          <p:cNvSpPr/>
          <p:nvPr/>
        </p:nvSpPr>
        <p:spPr>
          <a:xfrm>
            <a:off x="2556001" y="346378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45" name="Picture 1144"/>
          <p:cNvPicPr>
            <a:picLocks noChangeAspect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77" b="15202"/>
          <a:stretch/>
        </p:blipFill>
        <p:spPr>
          <a:xfrm rot="16200000">
            <a:off x="1436297" y="3318853"/>
            <a:ext cx="724226" cy="197998"/>
          </a:xfrm>
          <a:prstGeom prst="rect">
            <a:avLst/>
          </a:prstGeom>
          <a:noFill/>
        </p:spPr>
      </p:pic>
      <p:sp>
        <p:nvSpPr>
          <p:cNvPr id="1146" name="Oval 1145"/>
          <p:cNvSpPr/>
          <p:nvPr/>
        </p:nvSpPr>
        <p:spPr>
          <a:xfrm>
            <a:off x="3614595" y="386342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47" name="Table 11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635931"/>
              </p:ext>
            </p:extLst>
          </p:nvPr>
        </p:nvGraphicFramePr>
        <p:xfrm>
          <a:off x="2209331" y="4720537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FE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48" name="Picture 114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379" y="4729307"/>
            <a:ext cx="162000" cy="162000"/>
          </a:xfrm>
          <a:prstGeom prst="rect">
            <a:avLst/>
          </a:prstGeom>
          <a:noFill/>
        </p:spPr>
      </p:pic>
      <p:pic>
        <p:nvPicPr>
          <p:cNvPr id="1149" name="Picture 114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6489" y="4729307"/>
            <a:ext cx="162000" cy="162000"/>
          </a:xfrm>
          <a:prstGeom prst="rect">
            <a:avLst/>
          </a:prstGeom>
          <a:noFill/>
        </p:spPr>
      </p:pic>
      <p:pic>
        <p:nvPicPr>
          <p:cNvPr id="1150" name="Picture 114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566" y="5097893"/>
            <a:ext cx="162000" cy="162000"/>
          </a:xfrm>
          <a:prstGeom prst="rect">
            <a:avLst/>
          </a:prstGeom>
          <a:noFill/>
        </p:spPr>
      </p:pic>
      <p:pic>
        <p:nvPicPr>
          <p:cNvPr id="1151" name="Picture 115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8079" y="5097893"/>
            <a:ext cx="162000" cy="162000"/>
          </a:xfrm>
          <a:prstGeom prst="rect">
            <a:avLst/>
          </a:prstGeom>
          <a:noFill/>
        </p:spPr>
      </p:pic>
      <p:pic>
        <p:nvPicPr>
          <p:cNvPr id="1152" name="Picture 115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278" y="4729307"/>
            <a:ext cx="162000" cy="162000"/>
          </a:xfrm>
          <a:prstGeom prst="rect">
            <a:avLst/>
          </a:prstGeom>
          <a:noFill/>
        </p:spPr>
      </p:pic>
      <p:pic>
        <p:nvPicPr>
          <p:cNvPr id="1153" name="Picture 115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7431" y="4729307"/>
            <a:ext cx="162000" cy="162000"/>
          </a:xfrm>
          <a:prstGeom prst="rect">
            <a:avLst/>
          </a:prstGeom>
          <a:noFill/>
        </p:spPr>
      </p:pic>
      <p:sp>
        <p:nvSpPr>
          <p:cNvPr id="1154" name="Oval 1153"/>
          <p:cNvSpPr/>
          <p:nvPr/>
        </p:nvSpPr>
        <p:spPr>
          <a:xfrm>
            <a:off x="3709258" y="4867546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55" name="Picture 1154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20" b="14289"/>
          <a:stretch/>
        </p:blipFill>
        <p:spPr>
          <a:xfrm rot="16200000">
            <a:off x="1952963" y="4990651"/>
            <a:ext cx="718343" cy="195792"/>
          </a:xfrm>
          <a:prstGeom prst="rect">
            <a:avLst/>
          </a:prstGeom>
          <a:noFill/>
        </p:spPr>
      </p:pic>
      <p:sp>
        <p:nvSpPr>
          <p:cNvPr id="1156" name="Oval 1155"/>
          <p:cNvSpPr/>
          <p:nvPr/>
        </p:nvSpPr>
        <p:spPr>
          <a:xfrm>
            <a:off x="4233625" y="465329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57" name="Table 11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279437"/>
              </p:ext>
            </p:extLst>
          </p:nvPr>
        </p:nvGraphicFramePr>
        <p:xfrm>
          <a:off x="2711058" y="5730688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FE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58" name="Picture 115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106" y="5740831"/>
            <a:ext cx="162000" cy="162000"/>
          </a:xfrm>
          <a:prstGeom prst="rect">
            <a:avLst/>
          </a:prstGeom>
          <a:noFill/>
        </p:spPr>
      </p:pic>
      <p:pic>
        <p:nvPicPr>
          <p:cNvPr id="1159" name="Picture 115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216" y="5740831"/>
            <a:ext cx="162000" cy="162000"/>
          </a:xfrm>
          <a:prstGeom prst="rect">
            <a:avLst/>
          </a:prstGeom>
          <a:noFill/>
        </p:spPr>
      </p:pic>
      <p:pic>
        <p:nvPicPr>
          <p:cNvPr id="1160" name="Picture 115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293" y="6103281"/>
            <a:ext cx="162000" cy="162000"/>
          </a:xfrm>
          <a:prstGeom prst="rect">
            <a:avLst/>
          </a:prstGeom>
          <a:noFill/>
        </p:spPr>
      </p:pic>
      <p:pic>
        <p:nvPicPr>
          <p:cNvPr id="1161" name="Picture 116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9806" y="6103281"/>
            <a:ext cx="162000" cy="162000"/>
          </a:xfrm>
          <a:prstGeom prst="rect">
            <a:avLst/>
          </a:prstGeom>
          <a:noFill/>
        </p:spPr>
      </p:pic>
      <p:pic>
        <p:nvPicPr>
          <p:cNvPr id="1162" name="Picture 116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7005" y="5740831"/>
            <a:ext cx="162000" cy="162000"/>
          </a:xfrm>
          <a:prstGeom prst="rect">
            <a:avLst/>
          </a:prstGeom>
          <a:noFill/>
        </p:spPr>
      </p:pic>
      <p:pic>
        <p:nvPicPr>
          <p:cNvPr id="1163" name="Picture 116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9158" y="5740831"/>
            <a:ext cx="162000" cy="162000"/>
          </a:xfrm>
          <a:prstGeom prst="rect">
            <a:avLst/>
          </a:prstGeom>
          <a:noFill/>
        </p:spPr>
      </p:pic>
      <p:sp>
        <p:nvSpPr>
          <p:cNvPr id="1164" name="Oval 1163"/>
          <p:cNvSpPr/>
          <p:nvPr/>
        </p:nvSpPr>
        <p:spPr>
          <a:xfrm>
            <a:off x="4210985" y="5877697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65" name="Picture 1164"/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87" b="25667"/>
          <a:stretch/>
        </p:blipFill>
        <p:spPr>
          <a:xfrm rot="16200000">
            <a:off x="2454928" y="6003398"/>
            <a:ext cx="722483" cy="191102"/>
          </a:xfrm>
          <a:prstGeom prst="rect">
            <a:avLst/>
          </a:prstGeom>
          <a:noFill/>
        </p:spPr>
      </p:pic>
      <p:sp>
        <p:nvSpPr>
          <p:cNvPr id="1166" name="Oval 1165"/>
          <p:cNvSpPr/>
          <p:nvPr/>
        </p:nvSpPr>
        <p:spPr>
          <a:xfrm>
            <a:off x="4322329" y="545926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67" name="Table 11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392847"/>
              </p:ext>
            </p:extLst>
          </p:nvPr>
        </p:nvGraphicFramePr>
        <p:xfrm>
          <a:off x="4873449" y="4741897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FE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68" name="Picture 116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497" y="4749710"/>
            <a:ext cx="162000" cy="162000"/>
          </a:xfrm>
          <a:prstGeom prst="rect">
            <a:avLst/>
          </a:prstGeom>
          <a:noFill/>
        </p:spPr>
      </p:pic>
      <p:pic>
        <p:nvPicPr>
          <p:cNvPr id="1169" name="Picture 116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607" y="4749710"/>
            <a:ext cx="162000" cy="162000"/>
          </a:xfrm>
          <a:prstGeom prst="rect">
            <a:avLst/>
          </a:prstGeom>
          <a:noFill/>
        </p:spPr>
      </p:pic>
      <p:pic>
        <p:nvPicPr>
          <p:cNvPr id="1170" name="Picture 1169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2684" y="5116422"/>
            <a:ext cx="162000" cy="162000"/>
          </a:xfrm>
          <a:prstGeom prst="rect">
            <a:avLst/>
          </a:prstGeom>
          <a:noFill/>
        </p:spPr>
      </p:pic>
      <p:pic>
        <p:nvPicPr>
          <p:cNvPr id="1171" name="Picture 117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197" y="5116422"/>
            <a:ext cx="162000" cy="162000"/>
          </a:xfrm>
          <a:prstGeom prst="rect">
            <a:avLst/>
          </a:prstGeom>
          <a:noFill/>
        </p:spPr>
      </p:pic>
      <p:pic>
        <p:nvPicPr>
          <p:cNvPr id="1172" name="Picture 117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372" y="4749710"/>
            <a:ext cx="162000" cy="162000"/>
          </a:xfrm>
          <a:prstGeom prst="rect">
            <a:avLst/>
          </a:prstGeom>
          <a:noFill/>
        </p:spPr>
      </p:pic>
      <p:pic>
        <p:nvPicPr>
          <p:cNvPr id="1173" name="Picture 117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549" y="4749710"/>
            <a:ext cx="162000" cy="162000"/>
          </a:xfrm>
          <a:prstGeom prst="rect">
            <a:avLst/>
          </a:prstGeom>
          <a:noFill/>
        </p:spPr>
      </p:pic>
      <p:sp>
        <p:nvSpPr>
          <p:cNvPr id="1174" name="Oval 1173"/>
          <p:cNvSpPr/>
          <p:nvPr/>
        </p:nvSpPr>
        <p:spPr>
          <a:xfrm>
            <a:off x="4795693" y="5078633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175" name="Picture 1174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36" b="22753"/>
          <a:stretch/>
        </p:blipFill>
        <p:spPr>
          <a:xfrm rot="16200000">
            <a:off x="4616661" y="5012885"/>
            <a:ext cx="721917" cy="192308"/>
          </a:xfrm>
          <a:prstGeom prst="rect">
            <a:avLst/>
          </a:prstGeom>
          <a:noFill/>
        </p:spPr>
      </p:pic>
      <p:sp>
        <p:nvSpPr>
          <p:cNvPr id="1176" name="Oval 1175"/>
          <p:cNvSpPr/>
          <p:nvPr/>
        </p:nvSpPr>
        <p:spPr>
          <a:xfrm>
            <a:off x="4703468" y="4839289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77" name="Oval 1176"/>
          <p:cNvSpPr/>
          <p:nvPr/>
        </p:nvSpPr>
        <p:spPr>
          <a:xfrm>
            <a:off x="4844574" y="4227288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78" name="Oval 1177"/>
          <p:cNvSpPr/>
          <p:nvPr/>
        </p:nvSpPr>
        <p:spPr>
          <a:xfrm>
            <a:off x="4280583" y="4378483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79" name="Oval 1178"/>
          <p:cNvSpPr/>
          <p:nvPr/>
        </p:nvSpPr>
        <p:spPr>
          <a:xfrm>
            <a:off x="2202972" y="399519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80" name="Table 11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987057"/>
              </p:ext>
            </p:extLst>
          </p:nvPr>
        </p:nvGraphicFramePr>
        <p:xfrm>
          <a:off x="2031404" y="3930480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FE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81" name="Picture 118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452" y="3938731"/>
            <a:ext cx="162000" cy="162000"/>
          </a:xfrm>
          <a:prstGeom prst="rect">
            <a:avLst/>
          </a:prstGeom>
          <a:noFill/>
        </p:spPr>
      </p:pic>
      <p:pic>
        <p:nvPicPr>
          <p:cNvPr id="1182" name="Picture 118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8562" y="3938731"/>
            <a:ext cx="162000" cy="162000"/>
          </a:xfrm>
          <a:prstGeom prst="rect">
            <a:avLst/>
          </a:prstGeom>
          <a:noFill/>
        </p:spPr>
      </p:pic>
      <p:pic>
        <p:nvPicPr>
          <p:cNvPr id="1183" name="Picture 1182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639" y="4305444"/>
            <a:ext cx="162000" cy="162000"/>
          </a:xfrm>
          <a:prstGeom prst="rect">
            <a:avLst/>
          </a:prstGeom>
          <a:noFill/>
        </p:spPr>
      </p:pic>
      <p:pic>
        <p:nvPicPr>
          <p:cNvPr id="1184" name="Picture 1183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152" y="4305444"/>
            <a:ext cx="162000" cy="162000"/>
          </a:xfrm>
          <a:prstGeom prst="rect">
            <a:avLst/>
          </a:prstGeom>
          <a:noFill/>
        </p:spPr>
      </p:pic>
      <p:pic>
        <p:nvPicPr>
          <p:cNvPr id="1185" name="Picture 118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1327" y="3938731"/>
            <a:ext cx="162000" cy="162000"/>
          </a:xfrm>
          <a:prstGeom prst="rect">
            <a:avLst/>
          </a:prstGeom>
          <a:noFill/>
        </p:spPr>
      </p:pic>
      <p:pic>
        <p:nvPicPr>
          <p:cNvPr id="1186" name="Picture 118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504" y="3938731"/>
            <a:ext cx="162000" cy="162000"/>
          </a:xfrm>
          <a:prstGeom prst="rect">
            <a:avLst/>
          </a:prstGeom>
          <a:noFill/>
        </p:spPr>
      </p:pic>
      <p:pic>
        <p:nvPicPr>
          <p:cNvPr id="1187" name="Picture 1186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98" b="18166"/>
          <a:stretch/>
        </p:blipFill>
        <p:spPr>
          <a:xfrm rot="16200000">
            <a:off x="1773635" y="4198761"/>
            <a:ext cx="725205" cy="195707"/>
          </a:xfrm>
          <a:prstGeom prst="rect">
            <a:avLst/>
          </a:prstGeom>
          <a:noFill/>
        </p:spPr>
      </p:pic>
      <p:sp>
        <p:nvSpPr>
          <p:cNvPr id="1188" name="Oval 1187"/>
          <p:cNvSpPr/>
          <p:nvPr/>
        </p:nvSpPr>
        <p:spPr>
          <a:xfrm>
            <a:off x="3521061" y="4104937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89" name="Oval 1188"/>
          <p:cNvSpPr/>
          <p:nvPr/>
        </p:nvSpPr>
        <p:spPr>
          <a:xfrm>
            <a:off x="3935110" y="4137167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90" name="Table 11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381989"/>
              </p:ext>
            </p:extLst>
          </p:nvPr>
        </p:nvGraphicFramePr>
        <p:xfrm>
          <a:off x="9092619" y="3691996"/>
          <a:ext cx="833120" cy="3664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2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91" name="Picture 119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667" y="3693822"/>
            <a:ext cx="162000" cy="162000"/>
          </a:xfrm>
          <a:prstGeom prst="rect">
            <a:avLst/>
          </a:prstGeom>
          <a:noFill/>
        </p:spPr>
      </p:pic>
      <p:pic>
        <p:nvPicPr>
          <p:cNvPr id="1192" name="Picture 119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2329" y="3706220"/>
            <a:ext cx="162000" cy="162000"/>
          </a:xfrm>
          <a:prstGeom prst="rect">
            <a:avLst/>
          </a:prstGeom>
          <a:noFill/>
        </p:spPr>
      </p:pic>
      <p:sp>
        <p:nvSpPr>
          <p:cNvPr id="1193" name="Oval 1192"/>
          <p:cNvSpPr/>
          <p:nvPr/>
        </p:nvSpPr>
        <p:spPr>
          <a:xfrm>
            <a:off x="8102387" y="4464343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194" name="Oval 1193"/>
          <p:cNvSpPr/>
          <p:nvPr/>
        </p:nvSpPr>
        <p:spPr>
          <a:xfrm>
            <a:off x="7910483" y="394437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195" name="Table 11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364476"/>
              </p:ext>
            </p:extLst>
          </p:nvPr>
        </p:nvGraphicFramePr>
        <p:xfrm>
          <a:off x="7711152" y="4555255"/>
          <a:ext cx="83312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196" name="Picture 119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200" y="4568610"/>
            <a:ext cx="162000" cy="162000"/>
          </a:xfrm>
          <a:prstGeom prst="rect">
            <a:avLst/>
          </a:prstGeom>
          <a:noFill/>
        </p:spPr>
      </p:pic>
      <p:pic>
        <p:nvPicPr>
          <p:cNvPr id="1197" name="Picture 1196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862" y="4568610"/>
            <a:ext cx="162000" cy="162000"/>
          </a:xfrm>
          <a:prstGeom prst="rect">
            <a:avLst/>
          </a:prstGeom>
          <a:noFill/>
        </p:spPr>
      </p:pic>
      <p:pic>
        <p:nvPicPr>
          <p:cNvPr id="1198" name="Picture 1197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387" y="4930685"/>
            <a:ext cx="162000" cy="162000"/>
          </a:xfrm>
          <a:prstGeom prst="rect">
            <a:avLst/>
          </a:prstGeom>
          <a:noFill/>
        </p:spPr>
      </p:pic>
      <p:pic>
        <p:nvPicPr>
          <p:cNvPr id="1199" name="Picture 1198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900" y="4930685"/>
            <a:ext cx="162000" cy="162000"/>
          </a:xfrm>
          <a:prstGeom prst="rect">
            <a:avLst/>
          </a:prstGeom>
          <a:noFill/>
        </p:spPr>
      </p:pic>
      <p:pic>
        <p:nvPicPr>
          <p:cNvPr id="1200" name="Picture 1199"/>
          <p:cNvPicPr>
            <a:picLocks noChangeAspect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1" b="11626"/>
          <a:stretch/>
        </p:blipFill>
        <p:spPr>
          <a:xfrm rot="16200000">
            <a:off x="7455586" y="4822834"/>
            <a:ext cx="719988" cy="198386"/>
          </a:xfrm>
          <a:prstGeom prst="rect">
            <a:avLst/>
          </a:prstGeom>
          <a:noFill/>
        </p:spPr>
      </p:pic>
      <p:pic>
        <p:nvPicPr>
          <p:cNvPr id="1201" name="Picture 1200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018336" y="3777899"/>
            <a:ext cx="355591" cy="195381"/>
          </a:xfrm>
          <a:prstGeom prst="rect">
            <a:avLst/>
          </a:prstGeom>
          <a:noFill/>
        </p:spPr>
      </p:pic>
      <p:sp>
        <p:nvSpPr>
          <p:cNvPr id="1202" name="Oval 1201"/>
          <p:cNvSpPr/>
          <p:nvPr/>
        </p:nvSpPr>
        <p:spPr>
          <a:xfrm>
            <a:off x="9026605" y="3867494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203" name="Oval 1202"/>
          <p:cNvSpPr/>
          <p:nvPr/>
        </p:nvSpPr>
        <p:spPr>
          <a:xfrm>
            <a:off x="8836727" y="3864969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204" name="Table 12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989619"/>
              </p:ext>
            </p:extLst>
          </p:nvPr>
        </p:nvGraphicFramePr>
        <p:xfrm>
          <a:off x="9688830" y="4167085"/>
          <a:ext cx="83312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M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PCC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205" name="Picture 1204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0878" y="4178210"/>
            <a:ext cx="162000" cy="162000"/>
          </a:xfrm>
          <a:prstGeom prst="rect">
            <a:avLst/>
          </a:prstGeom>
          <a:noFill/>
        </p:spPr>
      </p:pic>
      <p:pic>
        <p:nvPicPr>
          <p:cNvPr id="1206" name="Picture 1205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6361" y="4178210"/>
            <a:ext cx="162000" cy="162000"/>
          </a:xfrm>
          <a:prstGeom prst="rect">
            <a:avLst/>
          </a:prstGeom>
          <a:noFill/>
        </p:spPr>
      </p:pic>
      <p:pic>
        <p:nvPicPr>
          <p:cNvPr id="1207" name="Picture 1206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8065" y="4540160"/>
            <a:ext cx="162000" cy="162000"/>
          </a:xfrm>
          <a:prstGeom prst="rect">
            <a:avLst/>
          </a:prstGeom>
          <a:noFill/>
        </p:spPr>
      </p:pic>
      <p:pic>
        <p:nvPicPr>
          <p:cNvPr id="1208" name="Picture 120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7578" y="4540160"/>
            <a:ext cx="162000" cy="162000"/>
          </a:xfrm>
          <a:prstGeom prst="rect">
            <a:avLst/>
          </a:prstGeom>
          <a:noFill/>
        </p:spPr>
      </p:pic>
      <p:pic>
        <p:nvPicPr>
          <p:cNvPr id="1209" name="Picture 1208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432241" y="4436176"/>
            <a:ext cx="721706" cy="196246"/>
          </a:xfrm>
          <a:prstGeom prst="rect">
            <a:avLst/>
          </a:prstGeom>
          <a:noFill/>
        </p:spPr>
      </p:pic>
      <p:sp>
        <p:nvSpPr>
          <p:cNvPr id="1210" name="Oval 1209"/>
          <p:cNvSpPr/>
          <p:nvPr/>
        </p:nvSpPr>
        <p:spPr>
          <a:xfrm>
            <a:off x="9619502" y="4528480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1211" name="Oval 1210"/>
          <p:cNvSpPr/>
          <p:nvPr/>
        </p:nvSpPr>
        <p:spPr>
          <a:xfrm>
            <a:off x="9252471" y="4472667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212" name="Picture 1211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6737" y="983732"/>
            <a:ext cx="162000" cy="162000"/>
          </a:xfrm>
          <a:prstGeom prst="rect">
            <a:avLst/>
          </a:prstGeom>
          <a:noFill/>
        </p:spPr>
      </p:pic>
      <p:pic>
        <p:nvPicPr>
          <p:cNvPr id="1213" name="Picture 121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003" y="1346263"/>
            <a:ext cx="162000" cy="162000"/>
          </a:xfrm>
          <a:prstGeom prst="rect">
            <a:avLst/>
          </a:prstGeom>
          <a:noFill/>
        </p:spPr>
      </p:pic>
      <p:pic>
        <p:nvPicPr>
          <p:cNvPr id="1214" name="Picture 1213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898" y="972630"/>
            <a:ext cx="162000" cy="162000"/>
          </a:xfrm>
          <a:prstGeom prst="rect">
            <a:avLst/>
          </a:prstGeom>
          <a:noFill/>
        </p:spPr>
      </p:pic>
      <p:pic>
        <p:nvPicPr>
          <p:cNvPr id="1215" name="Picture 1214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660" y="1343168"/>
            <a:ext cx="162000" cy="162000"/>
          </a:xfrm>
          <a:prstGeom prst="rect">
            <a:avLst/>
          </a:prstGeom>
          <a:noFill/>
        </p:spPr>
      </p:pic>
      <p:pic>
        <p:nvPicPr>
          <p:cNvPr id="1216" name="Picture 1215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135" y="2142316"/>
            <a:ext cx="162000" cy="162000"/>
          </a:xfrm>
          <a:prstGeom prst="rect">
            <a:avLst/>
          </a:prstGeom>
          <a:noFill/>
        </p:spPr>
      </p:pic>
      <p:pic>
        <p:nvPicPr>
          <p:cNvPr id="1217" name="Picture 1216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2348" y="1709695"/>
            <a:ext cx="162000" cy="162000"/>
          </a:xfrm>
          <a:prstGeom prst="rect">
            <a:avLst/>
          </a:prstGeom>
          <a:noFill/>
        </p:spPr>
      </p:pic>
      <p:pic>
        <p:nvPicPr>
          <p:cNvPr id="1218" name="Picture 1217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822" y="2081170"/>
            <a:ext cx="162000" cy="162000"/>
          </a:xfrm>
          <a:prstGeom prst="rect">
            <a:avLst/>
          </a:prstGeom>
          <a:noFill/>
        </p:spPr>
      </p:pic>
      <p:pic>
        <p:nvPicPr>
          <p:cNvPr id="1219" name="Picture 121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310" y="2617094"/>
            <a:ext cx="162000" cy="162000"/>
          </a:xfrm>
          <a:prstGeom prst="rect">
            <a:avLst/>
          </a:prstGeom>
          <a:noFill/>
        </p:spPr>
      </p:pic>
      <p:pic>
        <p:nvPicPr>
          <p:cNvPr id="1220" name="Picture 1219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785" y="2985860"/>
            <a:ext cx="162000" cy="162000"/>
          </a:xfrm>
          <a:prstGeom prst="rect">
            <a:avLst/>
          </a:prstGeom>
          <a:noFill/>
        </p:spPr>
      </p:pic>
      <p:pic>
        <p:nvPicPr>
          <p:cNvPr id="1221" name="Picture 1220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0938" y="2505704"/>
            <a:ext cx="162000" cy="162000"/>
          </a:xfrm>
          <a:prstGeom prst="rect">
            <a:avLst/>
          </a:prstGeom>
          <a:noFill/>
        </p:spPr>
      </p:pic>
      <p:pic>
        <p:nvPicPr>
          <p:cNvPr id="1222" name="Picture 1221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3847" y="2947050"/>
            <a:ext cx="162000" cy="162000"/>
          </a:xfrm>
          <a:prstGeom prst="rect">
            <a:avLst/>
          </a:prstGeom>
          <a:noFill/>
        </p:spPr>
      </p:pic>
      <p:pic>
        <p:nvPicPr>
          <p:cNvPr id="1223" name="Picture 122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35" y="3388541"/>
            <a:ext cx="162000" cy="162000"/>
          </a:xfrm>
          <a:prstGeom prst="rect">
            <a:avLst/>
          </a:prstGeom>
          <a:noFill/>
        </p:spPr>
      </p:pic>
      <p:pic>
        <p:nvPicPr>
          <p:cNvPr id="1224" name="Picture 1223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5098" y="3062431"/>
            <a:ext cx="162000" cy="162000"/>
          </a:xfrm>
          <a:prstGeom prst="rect">
            <a:avLst/>
          </a:prstGeom>
          <a:noFill/>
        </p:spPr>
      </p:pic>
      <p:pic>
        <p:nvPicPr>
          <p:cNvPr id="1225" name="Picture 1224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985" y="3062431"/>
            <a:ext cx="162000" cy="162000"/>
          </a:xfrm>
          <a:prstGeom prst="rect">
            <a:avLst/>
          </a:prstGeom>
          <a:noFill/>
        </p:spPr>
      </p:pic>
      <p:pic>
        <p:nvPicPr>
          <p:cNvPr id="1226" name="Picture 1225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5097" y="3424381"/>
            <a:ext cx="162000" cy="162000"/>
          </a:xfrm>
          <a:prstGeom prst="rect">
            <a:avLst/>
          </a:prstGeom>
          <a:noFill/>
        </p:spPr>
      </p:pic>
      <p:pic>
        <p:nvPicPr>
          <p:cNvPr id="1227" name="Picture 1226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997" y="3938731"/>
            <a:ext cx="162000" cy="162000"/>
          </a:xfrm>
          <a:prstGeom prst="rect">
            <a:avLst/>
          </a:prstGeom>
          <a:noFill/>
        </p:spPr>
      </p:pic>
      <p:pic>
        <p:nvPicPr>
          <p:cNvPr id="1228" name="Picture 1227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885" y="3938731"/>
            <a:ext cx="162000" cy="162000"/>
          </a:xfrm>
          <a:prstGeom prst="rect">
            <a:avLst/>
          </a:prstGeom>
          <a:noFill/>
        </p:spPr>
      </p:pic>
      <p:pic>
        <p:nvPicPr>
          <p:cNvPr id="1229" name="Picture 122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234" y="4305444"/>
            <a:ext cx="162000" cy="162000"/>
          </a:xfrm>
          <a:prstGeom prst="rect">
            <a:avLst/>
          </a:prstGeom>
          <a:noFill/>
        </p:spPr>
      </p:pic>
      <p:pic>
        <p:nvPicPr>
          <p:cNvPr id="1230" name="Picture 1229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447" y="4729307"/>
            <a:ext cx="162000" cy="162000"/>
          </a:xfrm>
          <a:prstGeom prst="rect">
            <a:avLst/>
          </a:prstGeom>
          <a:noFill/>
        </p:spPr>
      </p:pic>
      <p:pic>
        <p:nvPicPr>
          <p:cNvPr id="1231" name="Picture 1230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335" y="4729307"/>
            <a:ext cx="162000" cy="162000"/>
          </a:xfrm>
          <a:prstGeom prst="rect">
            <a:avLst/>
          </a:prstGeom>
          <a:noFill/>
        </p:spPr>
      </p:pic>
      <p:pic>
        <p:nvPicPr>
          <p:cNvPr id="1232" name="Picture 1231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210" y="5097893"/>
            <a:ext cx="162000" cy="162000"/>
          </a:xfrm>
          <a:prstGeom prst="rect">
            <a:avLst/>
          </a:prstGeom>
          <a:noFill/>
        </p:spPr>
      </p:pic>
      <p:pic>
        <p:nvPicPr>
          <p:cNvPr id="1233" name="Picture 123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035" y="5740831"/>
            <a:ext cx="162000" cy="162000"/>
          </a:xfrm>
          <a:prstGeom prst="rect">
            <a:avLst/>
          </a:prstGeom>
          <a:noFill/>
        </p:spPr>
      </p:pic>
      <p:pic>
        <p:nvPicPr>
          <p:cNvPr id="1234" name="Picture 1233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4273" y="6103281"/>
            <a:ext cx="162000" cy="162000"/>
          </a:xfrm>
          <a:prstGeom prst="rect">
            <a:avLst/>
          </a:prstGeom>
          <a:noFill/>
        </p:spPr>
      </p:pic>
      <p:pic>
        <p:nvPicPr>
          <p:cNvPr id="1235" name="Picture 1234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160" y="5240247"/>
            <a:ext cx="162000" cy="162000"/>
          </a:xfrm>
          <a:prstGeom prst="rect">
            <a:avLst/>
          </a:prstGeom>
          <a:noFill/>
        </p:spPr>
      </p:pic>
      <p:pic>
        <p:nvPicPr>
          <p:cNvPr id="1236" name="Picture 1235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923" y="5740831"/>
            <a:ext cx="162000" cy="162000"/>
          </a:xfrm>
          <a:prstGeom prst="rect">
            <a:avLst/>
          </a:prstGeom>
          <a:noFill/>
        </p:spPr>
      </p:pic>
      <p:pic>
        <p:nvPicPr>
          <p:cNvPr id="1237" name="Picture 1236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448" y="5116422"/>
            <a:ext cx="162000" cy="162000"/>
          </a:xfrm>
          <a:prstGeom prst="rect">
            <a:avLst/>
          </a:prstGeom>
          <a:noFill/>
        </p:spPr>
      </p:pic>
      <p:pic>
        <p:nvPicPr>
          <p:cNvPr id="1238" name="Picture 1237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5973" y="4749710"/>
            <a:ext cx="162000" cy="162000"/>
          </a:xfrm>
          <a:prstGeom prst="rect">
            <a:avLst/>
          </a:prstGeom>
          <a:noFill/>
        </p:spPr>
      </p:pic>
      <p:pic>
        <p:nvPicPr>
          <p:cNvPr id="1239" name="Picture 123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860" y="4749710"/>
            <a:ext cx="162000" cy="162000"/>
          </a:xfrm>
          <a:prstGeom prst="rect">
            <a:avLst/>
          </a:prstGeom>
          <a:noFill/>
        </p:spPr>
      </p:pic>
      <p:pic>
        <p:nvPicPr>
          <p:cNvPr id="1240" name="Picture 1239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548" y="4282985"/>
            <a:ext cx="162000" cy="162000"/>
          </a:xfrm>
          <a:prstGeom prst="rect">
            <a:avLst/>
          </a:prstGeom>
          <a:noFill/>
        </p:spPr>
      </p:pic>
      <p:pic>
        <p:nvPicPr>
          <p:cNvPr id="1241" name="Picture 1240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310" y="3916272"/>
            <a:ext cx="162000" cy="162000"/>
          </a:xfrm>
          <a:prstGeom prst="rect">
            <a:avLst/>
          </a:prstGeom>
          <a:noFill/>
        </p:spPr>
      </p:pic>
      <p:pic>
        <p:nvPicPr>
          <p:cNvPr id="1242" name="Picture 1241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310" y="3440023"/>
            <a:ext cx="162000" cy="162000"/>
          </a:xfrm>
          <a:prstGeom prst="rect">
            <a:avLst/>
          </a:prstGeom>
          <a:noFill/>
        </p:spPr>
      </p:pic>
      <p:pic>
        <p:nvPicPr>
          <p:cNvPr id="1243" name="Picture 124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7004" y="4930685"/>
            <a:ext cx="162000" cy="162000"/>
          </a:xfrm>
          <a:prstGeom prst="rect">
            <a:avLst/>
          </a:prstGeom>
          <a:noFill/>
        </p:spPr>
      </p:pic>
      <p:pic>
        <p:nvPicPr>
          <p:cNvPr id="1244" name="Picture 1243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766" y="4568610"/>
            <a:ext cx="162000" cy="162000"/>
          </a:xfrm>
          <a:prstGeom prst="rect">
            <a:avLst/>
          </a:prstGeom>
          <a:noFill/>
        </p:spPr>
      </p:pic>
      <p:pic>
        <p:nvPicPr>
          <p:cNvPr id="1245" name="Picture 1244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78" y="5419863"/>
            <a:ext cx="162000" cy="162000"/>
          </a:xfrm>
          <a:prstGeom prst="rect">
            <a:avLst/>
          </a:prstGeom>
          <a:noFill/>
        </p:spPr>
      </p:pic>
      <p:pic>
        <p:nvPicPr>
          <p:cNvPr id="1246" name="Picture 1245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310" y="4921161"/>
            <a:ext cx="162000" cy="162000"/>
          </a:xfrm>
          <a:prstGeom prst="rect">
            <a:avLst/>
          </a:prstGeom>
          <a:noFill/>
        </p:spPr>
      </p:pic>
      <p:pic>
        <p:nvPicPr>
          <p:cNvPr id="1247" name="Picture 1246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097" y="4540160"/>
            <a:ext cx="162000" cy="162000"/>
          </a:xfrm>
          <a:prstGeom prst="rect">
            <a:avLst/>
          </a:prstGeom>
          <a:noFill/>
        </p:spPr>
      </p:pic>
      <p:pic>
        <p:nvPicPr>
          <p:cNvPr id="1248" name="Picture 1247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1335" y="4178210"/>
            <a:ext cx="162000" cy="162000"/>
          </a:xfrm>
          <a:prstGeom prst="rect">
            <a:avLst/>
          </a:prstGeom>
          <a:noFill/>
        </p:spPr>
      </p:pic>
      <p:pic>
        <p:nvPicPr>
          <p:cNvPr id="1249" name="Picture 124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6022" y="3701960"/>
            <a:ext cx="162000" cy="162000"/>
          </a:xfrm>
          <a:prstGeom prst="rect">
            <a:avLst/>
          </a:prstGeom>
          <a:noFill/>
        </p:spPr>
      </p:pic>
      <p:pic>
        <p:nvPicPr>
          <p:cNvPr id="1250" name="Picture 1249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601" y="2505265"/>
            <a:ext cx="162000" cy="162000"/>
          </a:xfrm>
          <a:prstGeom prst="rect">
            <a:avLst/>
          </a:prstGeom>
          <a:noFill/>
        </p:spPr>
      </p:pic>
      <p:pic>
        <p:nvPicPr>
          <p:cNvPr id="1251" name="Picture 1250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364" y="2867215"/>
            <a:ext cx="162000" cy="162000"/>
          </a:xfrm>
          <a:prstGeom prst="rect">
            <a:avLst/>
          </a:prstGeom>
          <a:noFill/>
        </p:spPr>
      </p:pic>
      <p:pic>
        <p:nvPicPr>
          <p:cNvPr id="1252" name="Picture 1251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685" y="1712591"/>
            <a:ext cx="162000" cy="162000"/>
          </a:xfrm>
          <a:prstGeom prst="rect">
            <a:avLst/>
          </a:prstGeom>
          <a:noFill/>
        </p:spPr>
      </p:pic>
      <p:pic>
        <p:nvPicPr>
          <p:cNvPr id="1253" name="Picture 125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1335" y="1712591"/>
            <a:ext cx="162000" cy="162000"/>
          </a:xfrm>
          <a:prstGeom prst="rect">
            <a:avLst/>
          </a:prstGeom>
          <a:noFill/>
        </p:spPr>
      </p:pic>
      <p:pic>
        <p:nvPicPr>
          <p:cNvPr id="1254" name="Picture 1253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7922" y="2076566"/>
            <a:ext cx="162000" cy="162000"/>
          </a:xfrm>
          <a:prstGeom prst="rect">
            <a:avLst/>
          </a:prstGeom>
          <a:noFill/>
        </p:spPr>
      </p:pic>
      <p:pic>
        <p:nvPicPr>
          <p:cNvPr id="1255" name="Picture 1254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572" y="2076566"/>
            <a:ext cx="162000" cy="162000"/>
          </a:xfrm>
          <a:prstGeom prst="rect">
            <a:avLst/>
          </a:prstGeom>
          <a:noFill/>
        </p:spPr>
      </p:pic>
      <p:graphicFrame>
        <p:nvGraphicFramePr>
          <p:cNvPr id="1256" name="Table 12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919584"/>
              </p:ext>
            </p:extLst>
          </p:nvPr>
        </p:nvGraphicFramePr>
        <p:xfrm>
          <a:off x="4871881" y="5539966"/>
          <a:ext cx="83312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257" name="Picture 1256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29" y="5548522"/>
            <a:ext cx="162000" cy="162000"/>
          </a:xfrm>
          <a:prstGeom prst="rect">
            <a:avLst/>
          </a:prstGeom>
          <a:noFill/>
        </p:spPr>
      </p:pic>
      <p:pic>
        <p:nvPicPr>
          <p:cNvPr id="1258" name="Picture 1257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829" y="5548522"/>
            <a:ext cx="162000" cy="162000"/>
          </a:xfrm>
          <a:prstGeom prst="rect">
            <a:avLst/>
          </a:prstGeom>
          <a:noFill/>
        </p:spPr>
      </p:pic>
      <p:pic>
        <p:nvPicPr>
          <p:cNvPr id="1259" name="Picture 125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116" y="5915235"/>
            <a:ext cx="162000" cy="162000"/>
          </a:xfrm>
          <a:prstGeom prst="rect">
            <a:avLst/>
          </a:prstGeom>
          <a:noFill/>
        </p:spPr>
      </p:pic>
      <p:pic>
        <p:nvPicPr>
          <p:cNvPr id="1260" name="Picture 1259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0629" y="5915235"/>
            <a:ext cx="162000" cy="162000"/>
          </a:xfrm>
          <a:prstGeom prst="rect">
            <a:avLst/>
          </a:prstGeom>
          <a:noFill/>
        </p:spPr>
      </p:pic>
      <p:pic>
        <p:nvPicPr>
          <p:cNvPr id="1261" name="Picture 1260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5135" y="5915235"/>
            <a:ext cx="162000" cy="162000"/>
          </a:xfrm>
          <a:prstGeom prst="rect">
            <a:avLst/>
          </a:prstGeom>
          <a:noFill/>
        </p:spPr>
      </p:pic>
      <p:pic>
        <p:nvPicPr>
          <p:cNvPr id="1262" name="Picture 1261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897" y="5548522"/>
            <a:ext cx="162000" cy="162000"/>
          </a:xfrm>
          <a:prstGeom prst="rect">
            <a:avLst/>
          </a:prstGeom>
          <a:noFill/>
        </p:spPr>
      </p:pic>
      <p:pic>
        <p:nvPicPr>
          <p:cNvPr id="1263" name="Picture 1262"/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2" t="16556" r="6650" b="16517"/>
          <a:stretch/>
        </p:blipFill>
        <p:spPr>
          <a:xfrm rot="16200000">
            <a:off x="4613456" y="5806260"/>
            <a:ext cx="724537" cy="197842"/>
          </a:xfrm>
          <a:prstGeom prst="rect">
            <a:avLst/>
          </a:prstGeom>
          <a:noFill/>
        </p:spPr>
      </p:pic>
      <p:pic>
        <p:nvPicPr>
          <p:cNvPr id="1264" name="Picture 1263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134" y="5121185"/>
            <a:ext cx="162000" cy="162000"/>
          </a:xfrm>
          <a:prstGeom prst="rect">
            <a:avLst/>
          </a:prstGeom>
          <a:noFill/>
        </p:spPr>
      </p:pic>
      <p:pic>
        <p:nvPicPr>
          <p:cNvPr id="1265" name="Picture 1264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6311" y="5121185"/>
            <a:ext cx="162000" cy="162000"/>
          </a:xfrm>
          <a:prstGeom prst="rect">
            <a:avLst/>
          </a:prstGeom>
          <a:noFill/>
        </p:spPr>
      </p:pic>
      <p:pic>
        <p:nvPicPr>
          <p:cNvPr id="1266" name="Picture 1265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622" y="5121185"/>
            <a:ext cx="162000" cy="162000"/>
          </a:xfrm>
          <a:prstGeom prst="rect">
            <a:avLst/>
          </a:prstGeom>
          <a:noFill/>
        </p:spPr>
      </p:pic>
      <p:pic>
        <p:nvPicPr>
          <p:cNvPr id="1267" name="Picture 1266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842" y="973565"/>
            <a:ext cx="162000" cy="162000"/>
          </a:xfrm>
          <a:prstGeom prst="rect">
            <a:avLst/>
          </a:prstGeom>
          <a:noFill/>
        </p:spPr>
      </p:pic>
      <p:pic>
        <p:nvPicPr>
          <p:cNvPr id="1268" name="Picture 1267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504" y="973565"/>
            <a:ext cx="162000" cy="162000"/>
          </a:xfrm>
          <a:prstGeom prst="rect">
            <a:avLst/>
          </a:prstGeom>
          <a:noFill/>
        </p:spPr>
      </p:pic>
      <p:pic>
        <p:nvPicPr>
          <p:cNvPr id="1269" name="Picture 126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0132" y="973565"/>
            <a:ext cx="162000" cy="162000"/>
          </a:xfrm>
          <a:prstGeom prst="rect">
            <a:avLst/>
          </a:prstGeom>
          <a:noFill/>
        </p:spPr>
      </p:pic>
      <p:sp>
        <p:nvSpPr>
          <p:cNvPr id="1270" name="Oval 1269"/>
          <p:cNvSpPr/>
          <p:nvPr/>
        </p:nvSpPr>
        <p:spPr>
          <a:xfrm>
            <a:off x="7009017" y="2691972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pic>
        <p:nvPicPr>
          <p:cNvPr id="1271" name="Picture 1270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8147" y="2503493"/>
            <a:ext cx="162000" cy="162000"/>
          </a:xfrm>
          <a:prstGeom prst="rect">
            <a:avLst/>
          </a:prstGeom>
          <a:noFill/>
        </p:spPr>
      </p:pic>
      <p:pic>
        <p:nvPicPr>
          <p:cNvPr id="1272" name="Picture 1271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5809" y="2503493"/>
            <a:ext cx="162000" cy="162000"/>
          </a:xfrm>
          <a:prstGeom prst="rect">
            <a:avLst/>
          </a:prstGeom>
          <a:noFill/>
        </p:spPr>
      </p:pic>
      <p:pic>
        <p:nvPicPr>
          <p:cNvPr id="1273" name="Picture 127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150" y="2503493"/>
            <a:ext cx="162000" cy="162000"/>
          </a:xfrm>
          <a:prstGeom prst="rect">
            <a:avLst/>
          </a:prstGeom>
          <a:noFill/>
        </p:spPr>
      </p:pic>
      <p:pic>
        <p:nvPicPr>
          <p:cNvPr id="1274" name="Picture 1273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385" y="4306492"/>
            <a:ext cx="162000" cy="162000"/>
          </a:xfrm>
          <a:prstGeom prst="rect">
            <a:avLst/>
          </a:prstGeom>
          <a:noFill/>
        </p:spPr>
      </p:pic>
      <p:pic>
        <p:nvPicPr>
          <p:cNvPr id="1275" name="Picture 1274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562" y="4306492"/>
            <a:ext cx="162000" cy="162000"/>
          </a:xfrm>
          <a:prstGeom prst="rect">
            <a:avLst/>
          </a:prstGeom>
          <a:noFill/>
        </p:spPr>
      </p:pic>
      <p:pic>
        <p:nvPicPr>
          <p:cNvPr id="1276" name="Picture 1275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943" y="4306492"/>
            <a:ext cx="162000" cy="162000"/>
          </a:xfrm>
          <a:prstGeom prst="rect">
            <a:avLst/>
          </a:prstGeom>
          <a:noFill/>
        </p:spPr>
      </p:pic>
      <p:pic>
        <p:nvPicPr>
          <p:cNvPr id="1277" name="Picture 1276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936" y="982767"/>
            <a:ext cx="162000" cy="162000"/>
          </a:xfrm>
          <a:prstGeom prst="rect">
            <a:avLst/>
          </a:prstGeom>
          <a:noFill/>
        </p:spPr>
      </p:pic>
      <p:pic>
        <p:nvPicPr>
          <p:cNvPr id="1278" name="Picture 1277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2810" y="985661"/>
            <a:ext cx="162000" cy="162000"/>
          </a:xfrm>
          <a:prstGeom prst="rect">
            <a:avLst/>
          </a:prstGeom>
          <a:noFill/>
        </p:spPr>
      </p:pic>
      <p:pic>
        <p:nvPicPr>
          <p:cNvPr id="1279" name="Picture 127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380" y="982767"/>
            <a:ext cx="162000" cy="162000"/>
          </a:xfrm>
          <a:prstGeom prst="rect">
            <a:avLst/>
          </a:prstGeom>
          <a:noFill/>
        </p:spPr>
      </p:pic>
      <p:sp>
        <p:nvSpPr>
          <p:cNvPr id="1280" name="Oval 1279"/>
          <p:cNvSpPr/>
          <p:nvPr/>
        </p:nvSpPr>
        <p:spPr>
          <a:xfrm>
            <a:off x="5961321" y="3975336"/>
            <a:ext cx="36000" cy="36000"/>
          </a:xfrm>
          <a:prstGeom prst="ellipse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graphicFrame>
        <p:nvGraphicFramePr>
          <p:cNvPr id="1281" name="Table 12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417385"/>
              </p:ext>
            </p:extLst>
          </p:nvPr>
        </p:nvGraphicFramePr>
        <p:xfrm>
          <a:off x="5789753" y="3910622"/>
          <a:ext cx="1457960" cy="7336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83600">
                <a:tc rowSpan="4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5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endParaRPr lang="en-GB" sz="100" dirty="0"/>
                    </a:p>
                  </a:txBody>
                  <a:tcPr>
                    <a:lnL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600" dirty="0" smtClean="0"/>
                        <a:t>NCP</a:t>
                      </a:r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600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282" name="Picture 1281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801" y="3918873"/>
            <a:ext cx="162000" cy="162000"/>
          </a:xfrm>
          <a:prstGeom prst="rect">
            <a:avLst/>
          </a:prstGeom>
          <a:noFill/>
        </p:spPr>
      </p:pic>
      <p:pic>
        <p:nvPicPr>
          <p:cNvPr id="1283" name="Picture 1282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6911" y="3918873"/>
            <a:ext cx="162000" cy="162000"/>
          </a:xfrm>
          <a:prstGeom prst="rect">
            <a:avLst/>
          </a:prstGeom>
          <a:noFill/>
        </p:spPr>
      </p:pic>
      <p:pic>
        <p:nvPicPr>
          <p:cNvPr id="1284" name="Picture 1283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8988" y="4285586"/>
            <a:ext cx="162000" cy="162000"/>
          </a:xfrm>
          <a:prstGeom prst="rect">
            <a:avLst/>
          </a:prstGeom>
          <a:noFill/>
        </p:spPr>
      </p:pic>
      <p:pic>
        <p:nvPicPr>
          <p:cNvPr id="1285" name="Picture 1284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501" y="4285586"/>
            <a:ext cx="162000" cy="162000"/>
          </a:xfrm>
          <a:prstGeom prst="rect">
            <a:avLst/>
          </a:prstGeom>
          <a:noFill/>
        </p:spPr>
      </p:pic>
      <p:pic>
        <p:nvPicPr>
          <p:cNvPr id="1286" name="Picture 1285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76" y="3918873"/>
            <a:ext cx="162000" cy="162000"/>
          </a:xfrm>
          <a:prstGeom prst="rect">
            <a:avLst/>
          </a:prstGeom>
          <a:noFill/>
        </p:spPr>
      </p:pic>
      <p:pic>
        <p:nvPicPr>
          <p:cNvPr id="1287" name="Picture 1286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853" y="3918873"/>
            <a:ext cx="162000" cy="162000"/>
          </a:xfrm>
          <a:prstGeom prst="rect">
            <a:avLst/>
          </a:prstGeom>
          <a:noFill/>
        </p:spPr>
      </p:pic>
      <p:pic>
        <p:nvPicPr>
          <p:cNvPr id="1288" name="Picture 1287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346" y="3918873"/>
            <a:ext cx="162000" cy="162000"/>
          </a:xfrm>
          <a:prstGeom prst="rect">
            <a:avLst/>
          </a:prstGeom>
          <a:noFill/>
        </p:spPr>
      </p:pic>
      <p:pic>
        <p:nvPicPr>
          <p:cNvPr id="1289" name="Picture 1288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234" y="3918873"/>
            <a:ext cx="162000" cy="162000"/>
          </a:xfrm>
          <a:prstGeom prst="rect">
            <a:avLst/>
          </a:prstGeom>
          <a:noFill/>
        </p:spPr>
      </p:pic>
      <p:pic>
        <p:nvPicPr>
          <p:cNvPr id="1290" name="Picture 1289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1583" y="4285586"/>
            <a:ext cx="162000" cy="162000"/>
          </a:xfrm>
          <a:prstGeom prst="rect">
            <a:avLst/>
          </a:prstGeom>
          <a:noFill/>
        </p:spPr>
      </p:pic>
      <p:pic>
        <p:nvPicPr>
          <p:cNvPr id="1291" name="Picture 1290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734" y="4286634"/>
            <a:ext cx="162000" cy="162000"/>
          </a:xfrm>
          <a:prstGeom prst="rect">
            <a:avLst/>
          </a:prstGeom>
          <a:noFill/>
        </p:spPr>
      </p:pic>
      <p:pic>
        <p:nvPicPr>
          <p:cNvPr id="1292" name="Picture 1291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911" y="4286634"/>
            <a:ext cx="162000" cy="162000"/>
          </a:xfrm>
          <a:prstGeom prst="rect">
            <a:avLst/>
          </a:prstGeom>
          <a:noFill/>
        </p:spPr>
      </p:pic>
      <p:pic>
        <p:nvPicPr>
          <p:cNvPr id="1293" name="Picture 1292"/>
          <p:cNvPicPr>
            <a:picLocks noChangeAspect="1"/>
          </p:cNvPicPr>
          <p:nvPr/>
        </p:nvPicPr>
        <p:blipFill>
          <a:blip r:embed="rId3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7292" y="4286634"/>
            <a:ext cx="162000" cy="162000"/>
          </a:xfrm>
          <a:prstGeom prst="rect">
            <a:avLst/>
          </a:prstGeom>
          <a:noFill/>
        </p:spPr>
      </p:pic>
      <p:pic>
        <p:nvPicPr>
          <p:cNvPr id="1294" name="Picture 1293"/>
          <p:cNvPicPr>
            <a:picLocks noChangeAspect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6" t="40664" r="6639" b="20834"/>
          <a:stretch/>
        </p:blipFill>
        <p:spPr>
          <a:xfrm rot="16200000">
            <a:off x="5531753" y="4179313"/>
            <a:ext cx="722769" cy="195827"/>
          </a:xfrm>
          <a:prstGeom prst="rect">
            <a:avLst/>
          </a:prstGeom>
          <a:noFill/>
        </p:spPr>
      </p:pic>
      <p:pic>
        <p:nvPicPr>
          <p:cNvPr id="1295" name="Picture 1294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352517" y="1707522"/>
            <a:ext cx="195089" cy="725487"/>
          </a:xfrm>
          <a:prstGeom prst="rect">
            <a:avLst/>
          </a:prstGeom>
          <a:noFill/>
        </p:spPr>
      </p:pic>
      <p:grpSp>
        <p:nvGrpSpPr>
          <p:cNvPr id="1296" name="Group 1295"/>
          <p:cNvGrpSpPr/>
          <p:nvPr/>
        </p:nvGrpSpPr>
        <p:grpSpPr>
          <a:xfrm>
            <a:off x="7854649" y="5813846"/>
            <a:ext cx="2392307" cy="907942"/>
            <a:chOff x="6600680" y="480458"/>
            <a:chExt cx="2392307" cy="907942"/>
          </a:xfrm>
        </p:grpSpPr>
        <p:sp>
          <p:nvSpPr>
            <p:cNvPr id="1297" name="Rectangle 1296"/>
            <p:cNvSpPr/>
            <p:nvPr/>
          </p:nvSpPr>
          <p:spPr>
            <a:xfrm>
              <a:off x="6600680" y="480458"/>
              <a:ext cx="2392307" cy="906785"/>
            </a:xfrm>
            <a:prstGeom prst="rect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298" name="TextBox 1297"/>
            <p:cNvSpPr txBox="1"/>
            <p:nvPr/>
          </p:nvSpPr>
          <p:spPr>
            <a:xfrm>
              <a:off x="6603306" y="480459"/>
              <a:ext cx="2383986" cy="9079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444500" algn="l"/>
                </a:tabLst>
              </a:pPr>
              <a:r>
                <a:rPr lang="en-GB" sz="800" b="1" dirty="0">
                  <a:solidFill>
                    <a:schemeClr val="bg2"/>
                  </a:solidFill>
                  <a:latin typeface="SwissReSans" pitchFamily="34" charset="0"/>
                </a:rPr>
                <a:t>Legend</a:t>
              </a:r>
            </a:p>
            <a:p>
              <a:pPr>
                <a:tabLst>
                  <a:tab pos="444500" algn="l"/>
                </a:tabLst>
              </a:pPr>
              <a:endParaRPr lang="en-GB" sz="500" dirty="0">
                <a:latin typeface="SwissReSans" pitchFamily="34" charset="0"/>
              </a:endParaRPr>
            </a:p>
            <a:p>
              <a:pPr>
                <a:tabLst>
                  <a:tab pos="444500" algn="l"/>
                </a:tabLst>
              </a:pPr>
              <a:r>
                <a:rPr lang="en-GB" sz="800" dirty="0">
                  <a:solidFill>
                    <a:schemeClr val="bg2"/>
                  </a:solidFill>
                  <a:latin typeface="SwissReSans" pitchFamily="34" charset="0"/>
                </a:rPr>
                <a:t>MP: 	Mortgage protection</a:t>
              </a:r>
            </a:p>
            <a:p>
              <a:pPr>
                <a:tabLst>
                  <a:tab pos="444500" algn="l"/>
                </a:tabLst>
              </a:pPr>
              <a:r>
                <a:rPr lang="en-GB" sz="800" dirty="0">
                  <a:solidFill>
                    <a:schemeClr val="bg2"/>
                  </a:solidFill>
                  <a:latin typeface="SwissReSans" pitchFamily="34" charset="0"/>
                </a:rPr>
                <a:t>PCC: 	Parametric complementary covers</a:t>
              </a:r>
            </a:p>
            <a:p>
              <a:pPr>
                <a:tabLst>
                  <a:tab pos="444500" algn="l"/>
                </a:tabLst>
              </a:pPr>
              <a:r>
                <a:rPr lang="en-GB" sz="800" dirty="0">
                  <a:solidFill>
                    <a:schemeClr val="bg2"/>
                  </a:solidFill>
                  <a:latin typeface="SwissReSans" pitchFamily="34" charset="0"/>
                </a:rPr>
                <a:t>NDC: 	New distribution </a:t>
              </a:r>
              <a:r>
                <a:rPr lang="en-GB" sz="800" dirty="0" smtClean="0">
                  <a:solidFill>
                    <a:schemeClr val="bg2"/>
                  </a:solidFill>
                  <a:latin typeface="SwissReSans" pitchFamily="34" charset="0"/>
                </a:rPr>
                <a:t>channels</a:t>
              </a:r>
              <a:endParaRPr lang="en-GB" sz="800" dirty="0">
                <a:solidFill>
                  <a:schemeClr val="bg2"/>
                </a:solidFill>
                <a:latin typeface="SwissReSans" pitchFamily="34" charset="0"/>
              </a:endParaRPr>
            </a:p>
            <a:p>
              <a:pPr>
                <a:tabLst>
                  <a:tab pos="444500" algn="l"/>
                </a:tabLst>
              </a:pPr>
              <a:r>
                <a:rPr lang="en-GB" sz="800" dirty="0">
                  <a:solidFill>
                    <a:schemeClr val="bg2"/>
                  </a:solidFill>
                  <a:latin typeface="SwissReSans" pitchFamily="34" charset="0"/>
                </a:rPr>
                <a:t>PFE: 	Protection for the financially excluded</a:t>
              </a:r>
            </a:p>
            <a:p>
              <a:pPr>
                <a:tabLst>
                  <a:tab pos="444500" algn="l"/>
                </a:tabLst>
              </a:pPr>
              <a:r>
                <a:rPr lang="en-GB" sz="800" dirty="0">
                  <a:solidFill>
                    <a:schemeClr val="bg2"/>
                  </a:solidFill>
                  <a:latin typeface="SwissReSans" pitchFamily="34" charset="0"/>
                </a:rPr>
                <a:t>NCP:	Traditional nat cat product</a:t>
              </a:r>
            </a:p>
          </p:txBody>
        </p:sp>
      </p:grpSp>
      <p:grpSp>
        <p:nvGrpSpPr>
          <p:cNvPr id="1299" name="Graphic 10">
            <a:extLst>
              <a:ext uri="{FF2B5EF4-FFF2-40B4-BE49-F238E27FC236}">
                <a16:creationId xmlns="" xmlns:a16="http://schemas.microsoft.com/office/drawing/2014/main" id="{7F488C1B-2ECC-4B6F-96EC-1307AA06AC9D}"/>
              </a:ext>
            </a:extLst>
          </p:cNvPr>
          <p:cNvGrpSpPr>
            <a:grpSpLocks/>
          </p:cNvGrpSpPr>
          <p:nvPr/>
        </p:nvGrpSpPr>
        <p:grpSpPr>
          <a:xfrm>
            <a:off x="255904" y="6478496"/>
            <a:ext cx="1094400" cy="255600"/>
            <a:chOff x="-1788105" y="6606440"/>
            <a:chExt cx="1543050" cy="361950"/>
          </a:xfrm>
          <a:solidFill>
            <a:srgbClr val="FFFFFF"/>
          </a:solidFill>
        </p:grpSpPr>
        <p:sp>
          <p:nvSpPr>
            <p:cNvPr id="1300" name="Freeform: Shape 41">
              <a:extLst>
                <a:ext uri="{FF2B5EF4-FFF2-40B4-BE49-F238E27FC236}">
                  <a16:creationId xmlns="" xmlns:a16="http://schemas.microsoft.com/office/drawing/2014/main" id="{84984209-FB45-4B0B-8900-15EF4913310D}"/>
                </a:ext>
              </a:extLst>
            </p:cNvPr>
            <p:cNvSpPr/>
            <p:nvPr/>
          </p:nvSpPr>
          <p:spPr>
            <a:xfrm>
              <a:off x="-1795249" y="6599296"/>
              <a:ext cx="371475" cy="371475"/>
            </a:xfrm>
            <a:custGeom>
              <a:avLst/>
              <a:gdLst>
                <a:gd name="connsiteX0" fmla="*/ 188119 w 371475"/>
                <a:gd name="connsiteY0" fmla="*/ 7144 h 371475"/>
                <a:gd name="connsiteX1" fmla="*/ 7144 w 371475"/>
                <a:gd name="connsiteY1" fmla="*/ 188119 h 371475"/>
                <a:gd name="connsiteX2" fmla="*/ 188119 w 371475"/>
                <a:gd name="connsiteY2" fmla="*/ 369094 h 371475"/>
                <a:gd name="connsiteX3" fmla="*/ 369094 w 371475"/>
                <a:gd name="connsiteY3" fmla="*/ 188119 h 371475"/>
                <a:gd name="connsiteX4" fmla="*/ 188119 w 371475"/>
                <a:gd name="connsiteY4" fmla="*/ 7144 h 371475"/>
                <a:gd name="connsiteX5" fmla="*/ 139541 w 371475"/>
                <a:gd name="connsiteY5" fmla="*/ 280607 h 371475"/>
                <a:gd name="connsiteX6" fmla="*/ 99536 w 371475"/>
                <a:gd name="connsiteY6" fmla="*/ 280607 h 371475"/>
                <a:gd name="connsiteX7" fmla="*/ 99536 w 371475"/>
                <a:gd name="connsiteY7" fmla="*/ 162973 h 371475"/>
                <a:gd name="connsiteX8" fmla="*/ 139827 w 371475"/>
                <a:gd name="connsiteY8" fmla="*/ 162973 h 371475"/>
                <a:gd name="connsiteX9" fmla="*/ 208217 w 371475"/>
                <a:gd name="connsiteY9" fmla="*/ 280607 h 371475"/>
                <a:gd name="connsiteX10" fmla="*/ 168212 w 371475"/>
                <a:gd name="connsiteY10" fmla="*/ 280607 h 371475"/>
                <a:gd name="connsiteX11" fmla="*/ 168212 w 371475"/>
                <a:gd name="connsiteY11" fmla="*/ 162973 h 371475"/>
                <a:gd name="connsiteX12" fmla="*/ 208502 w 371475"/>
                <a:gd name="connsiteY12" fmla="*/ 162973 h 371475"/>
                <a:gd name="connsiteX13" fmla="*/ 277273 w 371475"/>
                <a:gd name="connsiteY13" fmla="*/ 280607 h 371475"/>
                <a:gd name="connsiteX14" fmla="*/ 237173 w 371475"/>
                <a:gd name="connsiteY14" fmla="*/ 280607 h 371475"/>
                <a:gd name="connsiteX15" fmla="*/ 237173 w 371475"/>
                <a:gd name="connsiteY15" fmla="*/ 162973 h 371475"/>
                <a:gd name="connsiteX16" fmla="*/ 277559 w 371475"/>
                <a:gd name="connsiteY16" fmla="*/ 162973 h 371475"/>
                <a:gd name="connsiteX17" fmla="*/ 278892 w 371475"/>
                <a:gd name="connsiteY17" fmla="*/ 134398 h 371475"/>
                <a:gd name="connsiteX18" fmla="*/ 97917 w 371475"/>
                <a:gd name="connsiteY18" fmla="*/ 134398 h 371475"/>
                <a:gd name="connsiteX19" fmla="*/ 97917 w 371475"/>
                <a:gd name="connsiteY19" fmla="*/ 96298 h 371475"/>
                <a:gd name="connsiteX20" fmla="*/ 278892 w 371475"/>
                <a:gd name="connsiteY20" fmla="*/ 9629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1475" h="371475">
                  <a:moveTo>
                    <a:pt x="188119" y="7144"/>
                  </a:moveTo>
                  <a:cubicBezTo>
                    <a:pt x="88169" y="7144"/>
                    <a:pt x="7144" y="88169"/>
                    <a:pt x="7144" y="188119"/>
                  </a:cubicBezTo>
                  <a:cubicBezTo>
                    <a:pt x="7144" y="288068"/>
                    <a:pt x="88169" y="369094"/>
                    <a:pt x="188119" y="369094"/>
                  </a:cubicBezTo>
                  <a:cubicBezTo>
                    <a:pt x="288068" y="369094"/>
                    <a:pt x="369094" y="288068"/>
                    <a:pt x="369094" y="188119"/>
                  </a:cubicBezTo>
                  <a:cubicBezTo>
                    <a:pt x="369094" y="88169"/>
                    <a:pt x="288068" y="7144"/>
                    <a:pt x="188119" y="7144"/>
                  </a:cubicBezTo>
                  <a:moveTo>
                    <a:pt x="139541" y="280607"/>
                  </a:moveTo>
                  <a:lnTo>
                    <a:pt x="99536" y="280607"/>
                  </a:lnTo>
                  <a:lnTo>
                    <a:pt x="99536" y="162973"/>
                  </a:lnTo>
                  <a:lnTo>
                    <a:pt x="139827" y="162973"/>
                  </a:lnTo>
                  <a:close/>
                  <a:moveTo>
                    <a:pt x="208217" y="280607"/>
                  </a:moveTo>
                  <a:lnTo>
                    <a:pt x="168212" y="280607"/>
                  </a:lnTo>
                  <a:lnTo>
                    <a:pt x="168212" y="162973"/>
                  </a:lnTo>
                  <a:lnTo>
                    <a:pt x="208502" y="162973"/>
                  </a:lnTo>
                  <a:close/>
                  <a:moveTo>
                    <a:pt x="277273" y="280607"/>
                  </a:moveTo>
                  <a:lnTo>
                    <a:pt x="237173" y="280607"/>
                  </a:lnTo>
                  <a:lnTo>
                    <a:pt x="237173" y="162973"/>
                  </a:lnTo>
                  <a:lnTo>
                    <a:pt x="277559" y="162973"/>
                  </a:lnTo>
                  <a:close/>
                  <a:moveTo>
                    <a:pt x="278892" y="134398"/>
                  </a:moveTo>
                  <a:lnTo>
                    <a:pt x="97917" y="134398"/>
                  </a:lnTo>
                  <a:lnTo>
                    <a:pt x="97917" y="96298"/>
                  </a:lnTo>
                  <a:lnTo>
                    <a:pt x="278892" y="96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1" name="Freeform: Shape 42">
              <a:extLst>
                <a:ext uri="{FF2B5EF4-FFF2-40B4-BE49-F238E27FC236}">
                  <a16:creationId xmlns="" xmlns:a16="http://schemas.microsoft.com/office/drawing/2014/main" id="{DF5FB361-169A-478A-A6F4-FB5FC9E36991}"/>
                </a:ext>
              </a:extLst>
            </p:cNvPr>
            <p:cNvSpPr/>
            <p:nvPr/>
          </p:nvSpPr>
          <p:spPr>
            <a:xfrm>
              <a:off x="-1321955" y="6683497"/>
              <a:ext cx="161925" cy="200025"/>
            </a:xfrm>
            <a:custGeom>
              <a:avLst/>
              <a:gdLst>
                <a:gd name="connsiteX0" fmla="*/ 152975 w 161925"/>
                <a:gd name="connsiteY0" fmla="*/ 63818 h 200025"/>
                <a:gd name="connsiteX1" fmla="*/ 114875 w 161925"/>
                <a:gd name="connsiteY1" fmla="*/ 63818 h 200025"/>
                <a:gd name="connsiteX2" fmla="*/ 86399 w 161925"/>
                <a:gd name="connsiteY2" fmla="*/ 35143 h 200025"/>
                <a:gd name="connsiteX3" fmla="*/ 83918 w 161925"/>
                <a:gd name="connsiteY3" fmla="*/ 35243 h 200025"/>
                <a:gd name="connsiteX4" fmla="*/ 51248 w 161925"/>
                <a:gd name="connsiteY4" fmla="*/ 58960 h 200025"/>
                <a:gd name="connsiteX5" fmla="*/ 158118 w 161925"/>
                <a:gd name="connsiteY5" fmla="*/ 139732 h 200025"/>
                <a:gd name="connsiteX6" fmla="*/ 85061 w 161925"/>
                <a:gd name="connsiteY6" fmla="*/ 199739 h 200025"/>
                <a:gd name="connsiteX7" fmla="*/ 7147 w 161925"/>
                <a:gd name="connsiteY7" fmla="*/ 137731 h 200025"/>
                <a:gd name="connsiteX8" fmla="*/ 47533 w 161925"/>
                <a:gd name="connsiteY8" fmla="*/ 137731 h 200025"/>
                <a:gd name="connsiteX9" fmla="*/ 80204 w 161925"/>
                <a:gd name="connsiteY9" fmla="*/ 172022 h 200025"/>
                <a:gd name="connsiteX10" fmla="*/ 117351 w 161925"/>
                <a:gd name="connsiteY10" fmla="*/ 147066 h 200025"/>
                <a:gd name="connsiteX11" fmla="*/ 12005 w 161925"/>
                <a:gd name="connsiteY11" fmla="*/ 64294 h 200025"/>
                <a:gd name="connsiteX12" fmla="*/ 85061 w 161925"/>
                <a:gd name="connsiteY12" fmla="*/ 7144 h 200025"/>
                <a:gd name="connsiteX13" fmla="*/ 152784 w 161925"/>
                <a:gd name="connsiteY13" fmla="*/ 6305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1925" h="200025">
                  <a:moveTo>
                    <a:pt x="152975" y="63818"/>
                  </a:moveTo>
                  <a:lnTo>
                    <a:pt x="114875" y="63818"/>
                  </a:lnTo>
                  <a:cubicBezTo>
                    <a:pt x="114929" y="48036"/>
                    <a:pt x="102181" y="35198"/>
                    <a:pt x="86399" y="35143"/>
                  </a:cubicBezTo>
                  <a:cubicBezTo>
                    <a:pt x="85571" y="35140"/>
                    <a:pt x="84743" y="35173"/>
                    <a:pt x="83918" y="35243"/>
                  </a:cubicBezTo>
                  <a:cubicBezTo>
                    <a:pt x="68774" y="35243"/>
                    <a:pt x="51248" y="40958"/>
                    <a:pt x="51248" y="58960"/>
                  </a:cubicBezTo>
                  <a:cubicBezTo>
                    <a:pt x="51248" y="99727"/>
                    <a:pt x="158118" y="72866"/>
                    <a:pt x="158118" y="139732"/>
                  </a:cubicBezTo>
                  <a:cubicBezTo>
                    <a:pt x="158118" y="180975"/>
                    <a:pt x="122590" y="199739"/>
                    <a:pt x="85061" y="199739"/>
                  </a:cubicBezTo>
                  <a:cubicBezTo>
                    <a:pt x="42199" y="199739"/>
                    <a:pt x="6766" y="184690"/>
                    <a:pt x="7147" y="137731"/>
                  </a:cubicBezTo>
                  <a:lnTo>
                    <a:pt x="47533" y="137731"/>
                  </a:lnTo>
                  <a:cubicBezTo>
                    <a:pt x="47533" y="158115"/>
                    <a:pt x="58582" y="172022"/>
                    <a:pt x="80204" y="172022"/>
                  </a:cubicBezTo>
                  <a:cubicBezTo>
                    <a:pt x="96110" y="172022"/>
                    <a:pt x="117351" y="166306"/>
                    <a:pt x="117351" y="147066"/>
                  </a:cubicBezTo>
                  <a:cubicBezTo>
                    <a:pt x="117351" y="104204"/>
                    <a:pt x="12005" y="133255"/>
                    <a:pt x="12005" y="64294"/>
                  </a:cubicBezTo>
                  <a:cubicBezTo>
                    <a:pt x="12005" y="23432"/>
                    <a:pt x="50105" y="7144"/>
                    <a:pt x="85061" y="7144"/>
                  </a:cubicBezTo>
                  <a:cubicBezTo>
                    <a:pt x="122209" y="7144"/>
                    <a:pt x="150403" y="25146"/>
                    <a:pt x="152784" y="6305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2" name="Freeform: Shape 43">
              <a:extLst>
                <a:ext uri="{FF2B5EF4-FFF2-40B4-BE49-F238E27FC236}">
                  <a16:creationId xmlns="" xmlns:a16="http://schemas.microsoft.com/office/drawing/2014/main" id="{BE69DF83-FBC0-41E8-AEFB-062D40277FD9}"/>
                </a:ext>
              </a:extLst>
            </p:cNvPr>
            <p:cNvSpPr/>
            <p:nvPr/>
          </p:nvSpPr>
          <p:spPr>
            <a:xfrm>
              <a:off x="-1161455" y="6743981"/>
              <a:ext cx="238125" cy="142875"/>
            </a:xfrm>
            <a:custGeom>
              <a:avLst/>
              <a:gdLst>
                <a:gd name="connsiteX0" fmla="*/ 148685 w 238125"/>
                <a:gd name="connsiteY0" fmla="*/ 135922 h 142875"/>
                <a:gd name="connsiteX1" fmla="*/ 130397 w 238125"/>
                <a:gd name="connsiteY1" fmla="*/ 74771 h 142875"/>
                <a:gd name="connsiteX2" fmla="*/ 120872 w 238125"/>
                <a:gd name="connsiteY2" fmla="*/ 34385 h 142875"/>
                <a:gd name="connsiteX3" fmla="*/ 114395 w 238125"/>
                <a:gd name="connsiteY3" fmla="*/ 62960 h 142875"/>
                <a:gd name="connsiteX4" fmla="*/ 111538 w 238125"/>
                <a:gd name="connsiteY4" fmla="*/ 73152 h 142875"/>
                <a:gd name="connsiteX5" fmla="*/ 94393 w 238125"/>
                <a:gd name="connsiteY5" fmla="*/ 135541 h 142875"/>
                <a:gd name="connsiteX6" fmla="*/ 49625 w 238125"/>
                <a:gd name="connsiteY6" fmla="*/ 135541 h 142875"/>
                <a:gd name="connsiteX7" fmla="*/ 7144 w 238125"/>
                <a:gd name="connsiteY7" fmla="*/ 7430 h 142875"/>
                <a:gd name="connsiteX8" fmla="*/ 50387 w 238125"/>
                <a:gd name="connsiteY8" fmla="*/ 7430 h 142875"/>
                <a:gd name="connsiteX9" fmla="*/ 68675 w 238125"/>
                <a:gd name="connsiteY9" fmla="*/ 74771 h 142875"/>
                <a:gd name="connsiteX10" fmla="*/ 71056 w 238125"/>
                <a:gd name="connsiteY10" fmla="*/ 84296 h 142875"/>
                <a:gd name="connsiteX11" fmla="*/ 73152 w 238125"/>
                <a:gd name="connsiteY11" fmla="*/ 93250 h 142875"/>
                <a:gd name="connsiteX12" fmla="*/ 75533 w 238125"/>
                <a:gd name="connsiteY12" fmla="*/ 109252 h 142875"/>
                <a:gd name="connsiteX13" fmla="*/ 85058 w 238125"/>
                <a:gd name="connsiteY13" fmla="*/ 64294 h 142875"/>
                <a:gd name="connsiteX14" fmla="*/ 100965 w 238125"/>
                <a:gd name="connsiteY14" fmla="*/ 7144 h 142875"/>
                <a:gd name="connsiteX15" fmla="*/ 144875 w 238125"/>
                <a:gd name="connsiteY15" fmla="*/ 7144 h 142875"/>
                <a:gd name="connsiteX16" fmla="*/ 161639 w 238125"/>
                <a:gd name="connsiteY16" fmla="*/ 66294 h 142875"/>
                <a:gd name="connsiteX17" fmla="*/ 170593 w 238125"/>
                <a:gd name="connsiteY17" fmla="*/ 108299 h 142875"/>
                <a:gd name="connsiteX18" fmla="*/ 171831 w 238125"/>
                <a:gd name="connsiteY18" fmla="*/ 100965 h 142875"/>
                <a:gd name="connsiteX19" fmla="*/ 180404 w 238125"/>
                <a:gd name="connsiteY19" fmla="*/ 64675 h 142875"/>
                <a:gd name="connsiteX20" fmla="*/ 196310 w 238125"/>
                <a:gd name="connsiteY20" fmla="*/ 7525 h 142875"/>
                <a:gd name="connsiteX21" fmla="*/ 237554 w 238125"/>
                <a:gd name="connsiteY21" fmla="*/ 7525 h 142875"/>
                <a:gd name="connsiteX22" fmla="*/ 193643 w 238125"/>
                <a:gd name="connsiteY22" fmla="*/ 135922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125" h="142875">
                  <a:moveTo>
                    <a:pt x="148685" y="135922"/>
                  </a:moveTo>
                  <a:lnTo>
                    <a:pt x="130397" y="74771"/>
                  </a:lnTo>
                  <a:cubicBezTo>
                    <a:pt x="126302" y="61246"/>
                    <a:pt x="123825" y="47815"/>
                    <a:pt x="120872" y="34385"/>
                  </a:cubicBezTo>
                  <a:cubicBezTo>
                    <a:pt x="118872" y="43910"/>
                    <a:pt x="117253" y="53912"/>
                    <a:pt x="114395" y="62960"/>
                  </a:cubicBezTo>
                  <a:lnTo>
                    <a:pt x="111538" y="73152"/>
                  </a:lnTo>
                  <a:lnTo>
                    <a:pt x="94393" y="135541"/>
                  </a:lnTo>
                  <a:lnTo>
                    <a:pt x="49625" y="135541"/>
                  </a:lnTo>
                  <a:lnTo>
                    <a:pt x="7144" y="7430"/>
                  </a:lnTo>
                  <a:lnTo>
                    <a:pt x="50387" y="7430"/>
                  </a:lnTo>
                  <a:lnTo>
                    <a:pt x="68675" y="74771"/>
                  </a:lnTo>
                  <a:lnTo>
                    <a:pt x="71056" y="84296"/>
                  </a:lnTo>
                  <a:lnTo>
                    <a:pt x="73152" y="93250"/>
                  </a:lnTo>
                  <a:cubicBezTo>
                    <a:pt x="73914" y="98584"/>
                    <a:pt x="74771" y="103918"/>
                    <a:pt x="75533" y="109252"/>
                  </a:cubicBezTo>
                  <a:cubicBezTo>
                    <a:pt x="77670" y="94064"/>
                    <a:pt x="80853" y="79043"/>
                    <a:pt x="85058" y="64294"/>
                  </a:cubicBezTo>
                  <a:lnTo>
                    <a:pt x="100965" y="7144"/>
                  </a:lnTo>
                  <a:lnTo>
                    <a:pt x="144875" y="7144"/>
                  </a:lnTo>
                  <a:lnTo>
                    <a:pt x="161639" y="66294"/>
                  </a:lnTo>
                  <a:cubicBezTo>
                    <a:pt x="165570" y="80077"/>
                    <a:pt x="168562" y="94111"/>
                    <a:pt x="170593" y="108299"/>
                  </a:cubicBezTo>
                  <a:lnTo>
                    <a:pt x="171831" y="100965"/>
                  </a:lnTo>
                  <a:cubicBezTo>
                    <a:pt x="173702" y="88656"/>
                    <a:pt x="176569" y="76520"/>
                    <a:pt x="180404" y="64675"/>
                  </a:cubicBezTo>
                  <a:lnTo>
                    <a:pt x="196310" y="7525"/>
                  </a:lnTo>
                  <a:lnTo>
                    <a:pt x="237554" y="7525"/>
                  </a:lnTo>
                  <a:lnTo>
                    <a:pt x="193643" y="135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3" name="Freeform: Shape 44">
              <a:extLst>
                <a:ext uri="{FF2B5EF4-FFF2-40B4-BE49-F238E27FC236}">
                  <a16:creationId xmlns="" xmlns:a16="http://schemas.microsoft.com/office/drawing/2014/main" id="{D4F479F7-E2C9-4077-912F-8353F1F383B6}"/>
                </a:ext>
              </a:extLst>
            </p:cNvPr>
            <p:cNvSpPr/>
            <p:nvPr/>
          </p:nvSpPr>
          <p:spPr>
            <a:xfrm>
              <a:off x="-911710" y="6744267"/>
              <a:ext cx="47625" cy="133350"/>
            </a:xfrm>
            <a:custGeom>
              <a:avLst/>
              <a:gdLst>
                <a:gd name="connsiteX0" fmla="*/ 7144 w 47625"/>
                <a:gd name="connsiteY0" fmla="*/ 7144 h 133350"/>
                <a:gd name="connsiteX1" fmla="*/ 45530 w 47625"/>
                <a:gd name="connsiteY1" fmla="*/ 7144 h 133350"/>
                <a:gd name="connsiteX2" fmla="*/ 45530 w 47625"/>
                <a:gd name="connsiteY2" fmla="*/ 135636 h 133350"/>
                <a:gd name="connsiteX3" fmla="*/ 7144 w 47625"/>
                <a:gd name="connsiteY3" fmla="*/ 13563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7144" y="7144"/>
                  </a:moveTo>
                  <a:lnTo>
                    <a:pt x="45530" y="7144"/>
                  </a:lnTo>
                  <a:lnTo>
                    <a:pt x="45530" y="135636"/>
                  </a:lnTo>
                  <a:lnTo>
                    <a:pt x="7144" y="135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4" name="Freeform: Shape 45">
              <a:extLst>
                <a:ext uri="{FF2B5EF4-FFF2-40B4-BE49-F238E27FC236}">
                  <a16:creationId xmlns="" xmlns:a16="http://schemas.microsoft.com/office/drawing/2014/main" id="{A8E3DB37-4240-4FC7-B7CD-8BA082CDA00F}"/>
                </a:ext>
              </a:extLst>
            </p:cNvPr>
            <p:cNvSpPr/>
            <p:nvPr/>
          </p:nvSpPr>
          <p:spPr>
            <a:xfrm>
              <a:off x="-912948" y="6688355"/>
              <a:ext cx="47625" cy="38100"/>
            </a:xfrm>
            <a:custGeom>
              <a:avLst/>
              <a:gdLst>
                <a:gd name="connsiteX0" fmla="*/ 7144 w 47625"/>
                <a:gd name="connsiteY0" fmla="*/ 7144 h 38100"/>
                <a:gd name="connsiteX1" fmla="*/ 48006 w 47625"/>
                <a:gd name="connsiteY1" fmla="*/ 7144 h 38100"/>
                <a:gd name="connsiteX2" fmla="*/ 48006 w 47625"/>
                <a:gd name="connsiteY2" fmla="*/ 38957 h 38100"/>
                <a:gd name="connsiteX3" fmla="*/ 7144 w 47625"/>
                <a:gd name="connsiteY3" fmla="*/ 38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7144" y="7144"/>
                  </a:moveTo>
                  <a:lnTo>
                    <a:pt x="48006" y="7144"/>
                  </a:lnTo>
                  <a:lnTo>
                    <a:pt x="48006" y="38957"/>
                  </a:lnTo>
                  <a:lnTo>
                    <a:pt x="7144" y="38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5" name="Freeform: Shape 46">
              <a:extLst>
                <a:ext uri="{FF2B5EF4-FFF2-40B4-BE49-F238E27FC236}">
                  <a16:creationId xmlns="" xmlns:a16="http://schemas.microsoft.com/office/drawing/2014/main" id="{B9620230-D485-4F45-8751-46827E6A8D8C}"/>
                </a:ext>
              </a:extLst>
            </p:cNvPr>
            <p:cNvSpPr/>
            <p:nvPr/>
          </p:nvSpPr>
          <p:spPr>
            <a:xfrm>
              <a:off x="-852274" y="6740171"/>
              <a:ext cx="123825" cy="142875"/>
            </a:xfrm>
            <a:custGeom>
              <a:avLst/>
              <a:gdLst>
                <a:gd name="connsiteX0" fmla="*/ 115824 w 123825"/>
                <a:gd name="connsiteY0" fmla="*/ 45053 h 142875"/>
                <a:gd name="connsiteX1" fmla="*/ 81534 w 123825"/>
                <a:gd name="connsiteY1" fmla="*/ 45053 h 142875"/>
                <a:gd name="connsiteX2" fmla="*/ 63151 w 123825"/>
                <a:gd name="connsiteY2" fmla="*/ 30861 h 142875"/>
                <a:gd name="connsiteX3" fmla="*/ 44101 w 123825"/>
                <a:gd name="connsiteY3" fmla="*/ 43910 h 142875"/>
                <a:gd name="connsiteX4" fmla="*/ 60008 w 123825"/>
                <a:gd name="connsiteY4" fmla="*/ 56102 h 142875"/>
                <a:gd name="connsiteX5" fmla="*/ 74676 w 123825"/>
                <a:gd name="connsiteY5" fmla="*/ 59817 h 142875"/>
                <a:gd name="connsiteX6" fmla="*/ 122873 w 123825"/>
                <a:gd name="connsiteY6" fmla="*/ 100965 h 142875"/>
                <a:gd name="connsiteX7" fmla="*/ 62389 w 123825"/>
                <a:gd name="connsiteY7" fmla="*/ 143447 h 142875"/>
                <a:gd name="connsiteX8" fmla="*/ 7144 w 123825"/>
                <a:gd name="connsiteY8" fmla="*/ 103061 h 142875"/>
                <a:gd name="connsiteX9" fmla="*/ 42672 w 123825"/>
                <a:gd name="connsiteY9" fmla="*/ 103061 h 142875"/>
                <a:gd name="connsiteX10" fmla="*/ 63409 w 123825"/>
                <a:gd name="connsiteY10" fmla="*/ 120259 h 142875"/>
                <a:gd name="connsiteX11" fmla="*/ 63913 w 123825"/>
                <a:gd name="connsiteY11" fmla="*/ 120206 h 142875"/>
                <a:gd name="connsiteX12" fmla="*/ 86296 w 123825"/>
                <a:gd name="connsiteY12" fmla="*/ 104299 h 142875"/>
                <a:gd name="connsiteX13" fmla="*/ 10096 w 123825"/>
                <a:gd name="connsiteY13" fmla="*/ 47149 h 142875"/>
                <a:gd name="connsiteX14" fmla="*/ 65627 w 123825"/>
                <a:gd name="connsiteY14" fmla="*/ 7144 h 142875"/>
                <a:gd name="connsiteX15" fmla="*/ 115824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5824" y="45053"/>
                  </a:moveTo>
                  <a:lnTo>
                    <a:pt x="81534" y="45053"/>
                  </a:lnTo>
                  <a:cubicBezTo>
                    <a:pt x="80161" y="36183"/>
                    <a:pt x="72079" y="29944"/>
                    <a:pt x="63151" y="30861"/>
                  </a:cubicBezTo>
                  <a:cubicBezTo>
                    <a:pt x="54959" y="30861"/>
                    <a:pt x="43148" y="33242"/>
                    <a:pt x="44101" y="43910"/>
                  </a:cubicBezTo>
                  <a:cubicBezTo>
                    <a:pt x="44101" y="52007"/>
                    <a:pt x="53626" y="54483"/>
                    <a:pt x="60008" y="56102"/>
                  </a:cubicBezTo>
                  <a:lnTo>
                    <a:pt x="74676" y="59817"/>
                  </a:lnTo>
                  <a:cubicBezTo>
                    <a:pt x="97155" y="64675"/>
                    <a:pt x="122873" y="74105"/>
                    <a:pt x="122873" y="100965"/>
                  </a:cubicBezTo>
                  <a:cubicBezTo>
                    <a:pt x="122873" y="133636"/>
                    <a:pt x="89344" y="143447"/>
                    <a:pt x="62389" y="143447"/>
                  </a:cubicBezTo>
                  <a:cubicBezTo>
                    <a:pt x="35433" y="143447"/>
                    <a:pt x="9335" y="131636"/>
                    <a:pt x="7144" y="103061"/>
                  </a:cubicBezTo>
                  <a:lnTo>
                    <a:pt x="42672" y="103061"/>
                  </a:lnTo>
                  <a:cubicBezTo>
                    <a:pt x="43649" y="113536"/>
                    <a:pt x="52933" y="121236"/>
                    <a:pt x="63409" y="120259"/>
                  </a:cubicBezTo>
                  <a:cubicBezTo>
                    <a:pt x="63577" y="120244"/>
                    <a:pt x="63745" y="120226"/>
                    <a:pt x="63913" y="120206"/>
                  </a:cubicBezTo>
                  <a:cubicBezTo>
                    <a:pt x="73438" y="120206"/>
                    <a:pt x="86296" y="116110"/>
                    <a:pt x="86296" y="104299"/>
                  </a:cubicBezTo>
                  <a:cubicBezTo>
                    <a:pt x="86296" y="79820"/>
                    <a:pt x="10096" y="97346"/>
                    <a:pt x="10096" y="47149"/>
                  </a:cubicBezTo>
                  <a:cubicBezTo>
                    <a:pt x="10096" y="16954"/>
                    <a:pt x="40291" y="7144"/>
                    <a:pt x="65627" y="7144"/>
                  </a:cubicBezTo>
                  <a:cubicBezTo>
                    <a:pt x="88868" y="7144"/>
                    <a:pt x="112109" y="16669"/>
                    <a:pt x="115824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6" name="Freeform: Shape 47">
              <a:extLst>
                <a:ext uri="{FF2B5EF4-FFF2-40B4-BE49-F238E27FC236}">
                  <a16:creationId xmlns="" xmlns:a16="http://schemas.microsoft.com/office/drawing/2014/main" id="{F4999380-97DA-40BA-8B24-D6171BCF7896}"/>
                </a:ext>
              </a:extLst>
            </p:cNvPr>
            <p:cNvSpPr/>
            <p:nvPr/>
          </p:nvSpPr>
          <p:spPr>
            <a:xfrm>
              <a:off x="-726544" y="6740171"/>
              <a:ext cx="123825" cy="142875"/>
            </a:xfrm>
            <a:custGeom>
              <a:avLst/>
              <a:gdLst>
                <a:gd name="connsiteX0" fmla="*/ 116205 w 123825"/>
                <a:gd name="connsiteY0" fmla="*/ 45053 h 142875"/>
                <a:gd name="connsiteX1" fmla="*/ 81915 w 123825"/>
                <a:gd name="connsiteY1" fmla="*/ 45053 h 142875"/>
                <a:gd name="connsiteX2" fmla="*/ 63532 w 123825"/>
                <a:gd name="connsiteY2" fmla="*/ 30861 h 142875"/>
                <a:gd name="connsiteX3" fmla="*/ 43910 w 123825"/>
                <a:gd name="connsiteY3" fmla="*/ 43910 h 142875"/>
                <a:gd name="connsiteX4" fmla="*/ 59817 w 123825"/>
                <a:gd name="connsiteY4" fmla="*/ 56102 h 142875"/>
                <a:gd name="connsiteX5" fmla="*/ 74581 w 123825"/>
                <a:gd name="connsiteY5" fmla="*/ 59817 h 142875"/>
                <a:gd name="connsiteX6" fmla="*/ 122206 w 123825"/>
                <a:gd name="connsiteY6" fmla="*/ 100965 h 142875"/>
                <a:gd name="connsiteX7" fmla="*/ 61817 w 123825"/>
                <a:gd name="connsiteY7" fmla="*/ 143447 h 142875"/>
                <a:gd name="connsiteX8" fmla="*/ 7144 w 123825"/>
                <a:gd name="connsiteY8" fmla="*/ 103061 h 142875"/>
                <a:gd name="connsiteX9" fmla="*/ 43339 w 123825"/>
                <a:gd name="connsiteY9" fmla="*/ 103061 h 142875"/>
                <a:gd name="connsiteX10" fmla="*/ 64075 w 123825"/>
                <a:gd name="connsiteY10" fmla="*/ 120259 h 142875"/>
                <a:gd name="connsiteX11" fmla="*/ 64580 w 123825"/>
                <a:gd name="connsiteY11" fmla="*/ 120206 h 142875"/>
                <a:gd name="connsiteX12" fmla="*/ 86963 w 123825"/>
                <a:gd name="connsiteY12" fmla="*/ 104299 h 142875"/>
                <a:gd name="connsiteX13" fmla="*/ 10763 w 123825"/>
                <a:gd name="connsiteY13" fmla="*/ 47149 h 142875"/>
                <a:gd name="connsiteX14" fmla="*/ 66294 w 123825"/>
                <a:gd name="connsiteY14" fmla="*/ 7144 h 142875"/>
                <a:gd name="connsiteX15" fmla="*/ 116396 w 123825"/>
                <a:gd name="connsiteY15" fmla="*/ 4181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116205" y="45053"/>
                  </a:moveTo>
                  <a:lnTo>
                    <a:pt x="81915" y="45053"/>
                  </a:lnTo>
                  <a:cubicBezTo>
                    <a:pt x="80542" y="36183"/>
                    <a:pt x="72460" y="29944"/>
                    <a:pt x="63532" y="30861"/>
                  </a:cubicBezTo>
                  <a:cubicBezTo>
                    <a:pt x="55340" y="30861"/>
                    <a:pt x="43529" y="33242"/>
                    <a:pt x="43910" y="43910"/>
                  </a:cubicBezTo>
                  <a:cubicBezTo>
                    <a:pt x="43910" y="52007"/>
                    <a:pt x="53435" y="54483"/>
                    <a:pt x="59817" y="56102"/>
                  </a:cubicBezTo>
                  <a:lnTo>
                    <a:pt x="74581" y="59817"/>
                  </a:lnTo>
                  <a:cubicBezTo>
                    <a:pt x="96965" y="64675"/>
                    <a:pt x="122206" y="74105"/>
                    <a:pt x="122206" y="100965"/>
                  </a:cubicBezTo>
                  <a:cubicBezTo>
                    <a:pt x="122206" y="133636"/>
                    <a:pt x="88773" y="143447"/>
                    <a:pt x="61817" y="143447"/>
                  </a:cubicBezTo>
                  <a:cubicBezTo>
                    <a:pt x="34862" y="143447"/>
                    <a:pt x="9144" y="131636"/>
                    <a:pt x="7144" y="103061"/>
                  </a:cubicBezTo>
                  <a:lnTo>
                    <a:pt x="43339" y="103061"/>
                  </a:lnTo>
                  <a:cubicBezTo>
                    <a:pt x="44316" y="113536"/>
                    <a:pt x="53600" y="121236"/>
                    <a:pt x="64075" y="120259"/>
                  </a:cubicBezTo>
                  <a:cubicBezTo>
                    <a:pt x="64244" y="120244"/>
                    <a:pt x="64412" y="120226"/>
                    <a:pt x="64580" y="120206"/>
                  </a:cubicBezTo>
                  <a:cubicBezTo>
                    <a:pt x="74105" y="120206"/>
                    <a:pt x="86963" y="116110"/>
                    <a:pt x="86963" y="104299"/>
                  </a:cubicBezTo>
                  <a:cubicBezTo>
                    <a:pt x="86963" y="79820"/>
                    <a:pt x="10763" y="97346"/>
                    <a:pt x="10763" y="47149"/>
                  </a:cubicBezTo>
                  <a:cubicBezTo>
                    <a:pt x="10763" y="16954"/>
                    <a:pt x="40958" y="7144"/>
                    <a:pt x="66294" y="7144"/>
                  </a:cubicBezTo>
                  <a:cubicBezTo>
                    <a:pt x="89535" y="7144"/>
                    <a:pt x="112776" y="16669"/>
                    <a:pt x="116396" y="418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7" name="Freeform: Shape 48">
              <a:extLst>
                <a:ext uri="{FF2B5EF4-FFF2-40B4-BE49-F238E27FC236}">
                  <a16:creationId xmlns="" xmlns:a16="http://schemas.microsoft.com/office/drawing/2014/main" id="{A993B365-95EB-4F8E-BB12-3F7DFDF0B355}"/>
                </a:ext>
              </a:extLst>
            </p:cNvPr>
            <p:cNvSpPr/>
            <p:nvPr/>
          </p:nvSpPr>
          <p:spPr>
            <a:xfrm>
              <a:off x="-536996" y="6688069"/>
              <a:ext cx="152400" cy="190500"/>
            </a:xfrm>
            <a:custGeom>
              <a:avLst/>
              <a:gdLst>
                <a:gd name="connsiteX0" fmla="*/ 106966 w 152400"/>
                <a:gd name="connsiteY0" fmla="*/ 100489 h 190500"/>
                <a:gd name="connsiteX1" fmla="*/ 146971 w 152400"/>
                <a:gd name="connsiteY1" fmla="*/ 54769 h 190500"/>
                <a:gd name="connsiteX2" fmla="*/ 83344 w 152400"/>
                <a:gd name="connsiteY2" fmla="*/ 7144 h 190500"/>
                <a:gd name="connsiteX3" fmla="*/ 7144 w 152400"/>
                <a:gd name="connsiteY3" fmla="*/ 7144 h 190500"/>
                <a:gd name="connsiteX4" fmla="*/ 7144 w 152400"/>
                <a:gd name="connsiteY4" fmla="*/ 191834 h 190500"/>
                <a:gd name="connsiteX5" fmla="*/ 46672 w 152400"/>
                <a:gd name="connsiteY5" fmla="*/ 191834 h 190500"/>
                <a:gd name="connsiteX6" fmla="*/ 46672 w 152400"/>
                <a:gd name="connsiteY6" fmla="*/ 117158 h 190500"/>
                <a:gd name="connsiteX7" fmla="*/ 77724 w 152400"/>
                <a:gd name="connsiteY7" fmla="*/ 117158 h 190500"/>
                <a:gd name="connsiteX8" fmla="*/ 110395 w 152400"/>
                <a:gd name="connsiteY8" fmla="*/ 191834 h 190500"/>
                <a:gd name="connsiteX9" fmla="*/ 153638 w 152400"/>
                <a:gd name="connsiteY9" fmla="*/ 191834 h 190500"/>
                <a:gd name="connsiteX10" fmla="*/ 107061 w 152400"/>
                <a:gd name="connsiteY10" fmla="*/ 100489 h 190500"/>
                <a:gd name="connsiteX11" fmla="*/ 75247 w 152400"/>
                <a:gd name="connsiteY11" fmla="*/ 86963 h 190500"/>
                <a:gd name="connsiteX12" fmla="*/ 46672 w 152400"/>
                <a:gd name="connsiteY12" fmla="*/ 86963 h 190500"/>
                <a:gd name="connsiteX13" fmla="*/ 46672 w 152400"/>
                <a:gd name="connsiteY13" fmla="*/ 36386 h 190500"/>
                <a:gd name="connsiteX14" fmla="*/ 75247 w 152400"/>
                <a:gd name="connsiteY14" fmla="*/ 36386 h 190500"/>
                <a:gd name="connsiteX15" fmla="*/ 105061 w 152400"/>
                <a:gd name="connsiteY15" fmla="*/ 61246 h 190500"/>
                <a:gd name="connsiteX16" fmla="*/ 74867 w 152400"/>
                <a:gd name="connsiteY16" fmla="*/ 86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00" h="190500">
                  <a:moveTo>
                    <a:pt x="106966" y="100489"/>
                  </a:moveTo>
                  <a:cubicBezTo>
                    <a:pt x="129826" y="93917"/>
                    <a:pt x="146971" y="80105"/>
                    <a:pt x="146971" y="54769"/>
                  </a:cubicBezTo>
                  <a:cubicBezTo>
                    <a:pt x="146971" y="19241"/>
                    <a:pt x="113919" y="7144"/>
                    <a:pt x="83344" y="7144"/>
                  </a:cubicBezTo>
                  <a:lnTo>
                    <a:pt x="7144" y="7144"/>
                  </a:lnTo>
                  <a:lnTo>
                    <a:pt x="7144" y="191834"/>
                  </a:lnTo>
                  <a:lnTo>
                    <a:pt x="46672" y="191834"/>
                  </a:lnTo>
                  <a:lnTo>
                    <a:pt x="46672" y="117158"/>
                  </a:lnTo>
                  <a:lnTo>
                    <a:pt x="77724" y="117158"/>
                  </a:lnTo>
                  <a:cubicBezTo>
                    <a:pt x="113252" y="117158"/>
                    <a:pt x="104680" y="166592"/>
                    <a:pt x="110395" y="191834"/>
                  </a:cubicBezTo>
                  <a:lnTo>
                    <a:pt x="153638" y="191834"/>
                  </a:lnTo>
                  <a:cubicBezTo>
                    <a:pt x="134017" y="157163"/>
                    <a:pt x="157734" y="110300"/>
                    <a:pt x="107061" y="100489"/>
                  </a:cubicBezTo>
                  <a:moveTo>
                    <a:pt x="75247" y="86963"/>
                  </a:moveTo>
                  <a:lnTo>
                    <a:pt x="46672" y="86963"/>
                  </a:lnTo>
                  <a:lnTo>
                    <a:pt x="46672" y="36386"/>
                  </a:lnTo>
                  <a:lnTo>
                    <a:pt x="75247" y="36386"/>
                  </a:lnTo>
                  <a:cubicBezTo>
                    <a:pt x="91630" y="36386"/>
                    <a:pt x="105061" y="43339"/>
                    <a:pt x="105061" y="61246"/>
                  </a:cubicBezTo>
                  <a:cubicBezTo>
                    <a:pt x="105061" y="79153"/>
                    <a:pt x="91630" y="86963"/>
                    <a:pt x="74867" y="8696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08" name="Freeform: Shape 49">
              <a:extLst>
                <a:ext uri="{FF2B5EF4-FFF2-40B4-BE49-F238E27FC236}">
                  <a16:creationId xmlns="" xmlns:a16="http://schemas.microsoft.com/office/drawing/2014/main" id="{EF1B278E-DB13-4B7A-88EB-B9D6AD816E46}"/>
                </a:ext>
              </a:extLst>
            </p:cNvPr>
            <p:cNvSpPr/>
            <p:nvPr/>
          </p:nvSpPr>
          <p:spPr>
            <a:xfrm>
              <a:off x="-375929" y="6740552"/>
              <a:ext cx="133350" cy="142875"/>
            </a:xfrm>
            <a:custGeom>
              <a:avLst/>
              <a:gdLst>
                <a:gd name="connsiteX0" fmla="*/ 70771 w 133350"/>
                <a:gd name="connsiteY0" fmla="*/ 119825 h 142875"/>
                <a:gd name="connsiteX1" fmla="*/ 46768 w 133350"/>
                <a:gd name="connsiteY1" fmla="*/ 85154 h 142875"/>
                <a:gd name="connsiteX2" fmla="*/ 131636 w 133350"/>
                <a:gd name="connsiteY2" fmla="*/ 85154 h 142875"/>
                <a:gd name="connsiteX3" fmla="*/ 69152 w 133350"/>
                <a:gd name="connsiteY3" fmla="*/ 7144 h 142875"/>
                <a:gd name="connsiteX4" fmla="*/ 7144 w 133350"/>
                <a:gd name="connsiteY4" fmla="*/ 78581 h 142875"/>
                <a:gd name="connsiteX5" fmla="*/ 70390 w 133350"/>
                <a:gd name="connsiteY5" fmla="*/ 143066 h 142875"/>
                <a:gd name="connsiteX6" fmla="*/ 127540 w 133350"/>
                <a:gd name="connsiteY6" fmla="*/ 101441 h 142875"/>
                <a:gd name="connsiteX7" fmla="*/ 92774 w 133350"/>
                <a:gd name="connsiteY7" fmla="*/ 101441 h 142875"/>
                <a:gd name="connsiteX8" fmla="*/ 70750 w 133350"/>
                <a:gd name="connsiteY8" fmla="*/ 119831 h 142875"/>
                <a:gd name="connsiteX9" fmla="*/ 70676 w 133350"/>
                <a:gd name="connsiteY9" fmla="*/ 119825 h 142875"/>
                <a:gd name="connsiteX10" fmla="*/ 68294 w 133350"/>
                <a:gd name="connsiteY10" fmla="*/ 30480 h 142875"/>
                <a:gd name="connsiteX11" fmla="*/ 91916 w 133350"/>
                <a:gd name="connsiteY11" fmla="*/ 61817 h 142875"/>
                <a:gd name="connsiteX12" fmla="*/ 46673 w 133350"/>
                <a:gd name="connsiteY12" fmla="*/ 61817 h 142875"/>
                <a:gd name="connsiteX13" fmla="*/ 68294 w 133350"/>
                <a:gd name="connsiteY13" fmla="*/ 304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42875">
                  <a:moveTo>
                    <a:pt x="70771" y="119825"/>
                  </a:moveTo>
                  <a:cubicBezTo>
                    <a:pt x="50387" y="119825"/>
                    <a:pt x="46768" y="102203"/>
                    <a:pt x="46768" y="85154"/>
                  </a:cubicBezTo>
                  <a:lnTo>
                    <a:pt x="131636" y="85154"/>
                  </a:lnTo>
                  <a:cubicBezTo>
                    <a:pt x="131636" y="43910"/>
                    <a:pt x="116967" y="7144"/>
                    <a:pt x="69152" y="7144"/>
                  </a:cubicBezTo>
                  <a:cubicBezTo>
                    <a:pt x="28004" y="7144"/>
                    <a:pt x="7144" y="40672"/>
                    <a:pt x="7144" y="78581"/>
                  </a:cubicBezTo>
                  <a:cubicBezTo>
                    <a:pt x="7144" y="118205"/>
                    <a:pt x="30861" y="143066"/>
                    <a:pt x="70390" y="143066"/>
                  </a:cubicBezTo>
                  <a:cubicBezTo>
                    <a:pt x="97346" y="143066"/>
                    <a:pt x="125063" y="131636"/>
                    <a:pt x="127540" y="101441"/>
                  </a:cubicBezTo>
                  <a:lnTo>
                    <a:pt x="92774" y="101441"/>
                  </a:lnTo>
                  <a:cubicBezTo>
                    <a:pt x="91770" y="112601"/>
                    <a:pt x="81910" y="120835"/>
                    <a:pt x="70750" y="119831"/>
                  </a:cubicBezTo>
                  <a:cubicBezTo>
                    <a:pt x="70725" y="119829"/>
                    <a:pt x="70700" y="119827"/>
                    <a:pt x="70676" y="119825"/>
                  </a:cubicBezTo>
                  <a:moveTo>
                    <a:pt x="68294" y="30480"/>
                  </a:moveTo>
                  <a:cubicBezTo>
                    <a:pt x="87344" y="30480"/>
                    <a:pt x="91154" y="46387"/>
                    <a:pt x="91916" y="61817"/>
                  </a:cubicBezTo>
                  <a:lnTo>
                    <a:pt x="46673" y="61817"/>
                  </a:lnTo>
                  <a:cubicBezTo>
                    <a:pt x="46673" y="48006"/>
                    <a:pt x="51149" y="30480"/>
                    <a:pt x="68294" y="3048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 kern="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802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919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Legal not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©2019 Swiss Re. All rights reserved. You are not permitted to create any modifications </a:t>
            </a:r>
            <a:br>
              <a:rPr lang="en-GB"/>
            </a:br>
            <a:r>
              <a:rPr lang="en-GB"/>
              <a:t>or derivative works of this presentation or to use it for commercial or other public purposes </a:t>
            </a:r>
            <a:br>
              <a:rPr lang="en-GB"/>
            </a:br>
            <a:r>
              <a:rPr lang="en-GB"/>
              <a:t>without the prior written permission of Swiss Re.</a:t>
            </a:r>
          </a:p>
          <a:p>
            <a:r>
              <a:rPr lang="en-GB"/>
              <a:t>The information and opinions contained in the presentation are provided as at the date of </a:t>
            </a:r>
            <a:br>
              <a:rPr lang="en-GB"/>
            </a:br>
            <a:r>
              <a:rPr lang="en-GB"/>
              <a:t>the presentation and are subject to change without notice. Although the information used </a:t>
            </a:r>
            <a:br>
              <a:rPr lang="en-GB"/>
            </a:br>
            <a:r>
              <a:rPr lang="en-GB"/>
              <a:t>was taken from reliable sources, Swiss Re does not accept any responsibility for the accuracy </a:t>
            </a:r>
            <a:br>
              <a:rPr lang="en-GB"/>
            </a:br>
            <a:r>
              <a:rPr lang="en-GB"/>
              <a:t>or comprehensiveness of the details given. All liability for the accuracy and completeness </a:t>
            </a:r>
            <a:br>
              <a:rPr lang="en-GB"/>
            </a:br>
            <a:r>
              <a:rPr lang="en-GB"/>
              <a:t>thereof or for any damage or loss resulting from the use of the information contained in this </a:t>
            </a:r>
            <a:br>
              <a:rPr lang="en-GB"/>
            </a:br>
            <a:r>
              <a:rPr lang="en-GB"/>
              <a:t>presentation is expressly excluded. Under no circumstances shall Swiss Re or its Group </a:t>
            </a:r>
            <a:br>
              <a:rPr lang="en-GB"/>
            </a:br>
            <a:r>
              <a:rPr lang="en-GB"/>
              <a:t>companies be liable for any financial or consequential loss relating to this presentation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938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4"/>
  <p:tag name="LANGUAGE" val="2057"/>
  <p:tag name="PRESENTATIONSTYLE" val="0"/>
  <p:tag name="COLORPAIR" val="1"/>
  <p:tag name="COLORGRADIENTBARS" val="True"/>
  <p:tag name="CLASSIFICATION" val="0"/>
  <p:tag name="AIPLABEL" val="Intern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jpnSV2Q4O.z7s6d6R0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Ba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LOGOCOLORTAG" val="L"/>
  <p:tag name="FOOTERCOLORTAG" val="L"/>
  <p:tag name="SLIDENUMBERCOLORTAG" val="L"/>
  <p:tag name="TITLECOLORTAG" val="L"/>
  <p:tag name="PRESENTATIONSTYLE" val="0"/>
  <p:tag name="COLORPAIR" val="1"/>
  <p:tag name="NAME" val="03_Risks_Catastrophes_6"/>
  <p:tag name="CATEGORY" val="03 - Risks &amp; Catastroph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tj60hQNaFVQh6G.H_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169</Template>
  <TotalTime>631</TotalTime>
  <Words>450</Words>
  <Application>Microsoft Office PowerPoint</Application>
  <PresentationFormat>Widescreen</PresentationFormat>
  <Paragraphs>162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SwissReSans</vt:lpstr>
      <vt:lpstr>SwissReSans Light</vt:lpstr>
      <vt:lpstr>SwissReSansOT</vt:lpstr>
      <vt:lpstr>ＭＳ Ｐゴシック</vt:lpstr>
      <vt:lpstr>SwissRe</vt:lpstr>
      <vt:lpstr>think-cell Slide</vt:lpstr>
      <vt:lpstr>Old challenges, new solutions</vt:lpstr>
      <vt:lpstr>PowerPoint Presentation</vt:lpstr>
      <vt:lpstr>PowerPoint Presentation</vt:lpstr>
      <vt:lpstr>Bespoke Solutions</vt:lpstr>
      <vt:lpstr>Bespoke Solutions</vt:lpstr>
      <vt:lpstr>PowerPoint Presentation</vt:lpstr>
      <vt:lpstr>PowerPoint Presentation</vt:lpstr>
      <vt:lpstr>Legal notice</vt:lpstr>
    </vt:vector>
  </TitlesOfParts>
  <Company>Swiss 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SRGSEM</dc:creator>
  <cp:lastModifiedBy>Pavel Huerta Uribe</cp:lastModifiedBy>
  <cp:revision>29</cp:revision>
  <dcterms:created xsi:type="dcterms:W3CDTF">2019-04-30T09:16:03Z</dcterms:created>
  <dcterms:modified xsi:type="dcterms:W3CDTF">2019-05-12T14:4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iteId">
    <vt:lpwstr>45597f60-6e37-4be7-acfb-4c9e23b261ea</vt:lpwstr>
  </property>
  <property fmtid="{D5CDD505-2E9C-101B-9397-08002B2CF9AE}" pid="4" name="MSIP_Label_90c2fedb-0da6-4717-8531-d16a1b9930f4_Owner">
    <vt:lpwstr>Monika_Selmeier@swissre.com</vt:lpwstr>
  </property>
  <property fmtid="{D5CDD505-2E9C-101B-9397-08002B2CF9AE}" pid="5" name="MSIP_Label_90c2fedb-0da6-4717-8531-d16a1b9930f4_SetDate">
    <vt:lpwstr>2019-04-30T09:18:24.9940631Z</vt:lpwstr>
  </property>
  <property fmtid="{D5CDD505-2E9C-101B-9397-08002B2CF9AE}" pid="6" name="MSIP_Label_90c2fedb-0da6-4717-8531-d16a1b9930f4_Name">
    <vt:lpwstr>Internal</vt:lpwstr>
  </property>
  <property fmtid="{D5CDD505-2E9C-101B-9397-08002B2CF9AE}" pid="7" name="MSIP_Label_90c2fedb-0da6-4717-8531-d16a1b9930f4_Application">
    <vt:lpwstr>Microsoft Azure Information Protection</vt:lpwstr>
  </property>
  <property fmtid="{D5CDD505-2E9C-101B-9397-08002B2CF9AE}" pid="8" name="MSIP_Label_90c2fedb-0da6-4717-8531-d16a1b9930f4_Extended_MSFT_Method">
    <vt:lpwstr>Automatic</vt:lpwstr>
  </property>
  <property fmtid="{D5CDD505-2E9C-101B-9397-08002B2CF9AE}" pid="9" name="Sensitivity">
    <vt:lpwstr>Internal</vt:lpwstr>
  </property>
</Properties>
</file>